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49"/>
  </p:notesMasterIdLst>
  <p:sldIdLst>
    <p:sldId id="311" r:id="rId2"/>
    <p:sldId id="312" r:id="rId3"/>
    <p:sldId id="315" r:id="rId4"/>
    <p:sldId id="296" r:id="rId5"/>
    <p:sldId id="297" r:id="rId6"/>
    <p:sldId id="305" r:id="rId7"/>
    <p:sldId id="362" r:id="rId8"/>
    <p:sldId id="300" r:id="rId9"/>
    <p:sldId id="301" r:id="rId10"/>
    <p:sldId id="319" r:id="rId11"/>
    <p:sldId id="363" r:id="rId12"/>
    <p:sldId id="365" r:id="rId13"/>
    <p:sldId id="364" r:id="rId14"/>
    <p:sldId id="317" r:id="rId15"/>
    <p:sldId id="367" r:id="rId16"/>
    <p:sldId id="368" r:id="rId17"/>
    <p:sldId id="369" r:id="rId18"/>
    <p:sldId id="366" r:id="rId19"/>
    <p:sldId id="371" r:id="rId20"/>
    <p:sldId id="372" r:id="rId21"/>
    <p:sldId id="373" r:id="rId22"/>
    <p:sldId id="304" r:id="rId23"/>
    <p:sldId id="374" r:id="rId24"/>
    <p:sldId id="370" r:id="rId25"/>
    <p:sldId id="299" r:id="rId26"/>
    <p:sldId id="307" r:id="rId27"/>
    <p:sldId id="298" r:id="rId28"/>
    <p:sldId id="377" r:id="rId29"/>
    <p:sldId id="378" r:id="rId30"/>
    <p:sldId id="379" r:id="rId31"/>
    <p:sldId id="380" r:id="rId32"/>
    <p:sldId id="381" r:id="rId33"/>
    <p:sldId id="302" r:id="rId34"/>
    <p:sldId id="383" r:id="rId35"/>
    <p:sldId id="382" r:id="rId36"/>
    <p:sldId id="384" r:id="rId37"/>
    <p:sldId id="336" r:id="rId38"/>
    <p:sldId id="385" r:id="rId39"/>
    <p:sldId id="306" r:id="rId40"/>
    <p:sldId id="376" r:id="rId41"/>
    <p:sldId id="387" r:id="rId42"/>
    <p:sldId id="388" r:id="rId43"/>
    <p:sldId id="386" r:id="rId44"/>
    <p:sldId id="390" r:id="rId45"/>
    <p:sldId id="391" r:id="rId46"/>
    <p:sldId id="389" r:id="rId47"/>
    <p:sldId id="392" r:id="rId48"/>
  </p:sldIdLst>
  <p:sldSz cx="12192000" cy="6858000"/>
  <p:notesSz cx="6858000" cy="9144000"/>
  <p:custDataLst>
    <p:tags r:id="rId5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FFFF00"/>
    <a:srgbClr val="00005C"/>
    <a:srgbClr val="06D24C"/>
    <a:srgbClr val="035920"/>
    <a:srgbClr val="F6F5F3"/>
    <a:srgbClr val="04862F"/>
    <a:srgbClr val="07DB4E"/>
    <a:srgbClr val="08396E"/>
    <a:srgbClr val="0519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DA37D80-6434-44D0-A028-1B22A696006F}" styleName="浅色样式 3 - 强调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242" autoAdjust="0"/>
    <p:restoredTop sz="96182" autoAdjust="0"/>
  </p:normalViewPr>
  <p:slideViewPr>
    <p:cSldViewPr snapToGrid="0">
      <p:cViewPr varScale="1">
        <p:scale>
          <a:sx n="89" d="100"/>
          <a:sy n="89" d="100"/>
        </p:scale>
        <p:origin x="96" y="4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tags" Target="tags/tag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5/3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  <a:t>2025/3/10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5/3/10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zh-CN" altLang="en-US" sz="4800" dirty="0"/>
              <a:t>第</a:t>
            </a:r>
            <a:r>
              <a:rPr lang="en-US" altLang="zh-CN" sz="4800" dirty="0"/>
              <a:t>3</a:t>
            </a:r>
            <a:r>
              <a:rPr lang="zh-CN" altLang="en-US" sz="4800" dirty="0"/>
              <a:t>章 </a:t>
            </a:r>
            <a:br>
              <a:rPr lang="en-US" altLang="zh-CN" sz="4800" dirty="0"/>
            </a:br>
            <a:r>
              <a:rPr lang="zh-CN" altLang="en-US" sz="4800" dirty="0"/>
              <a:t>处理机调度与死锁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1243012" y="589418"/>
            <a:ext cx="469872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经典教材《计算机操作系统》</a:t>
            </a:r>
            <a:r>
              <a:rPr lang="zh-CN" altLang="en-US" sz="2200" b="1" dirty="0">
                <a:solidFill>
                  <a:schemeClr val="accent2"/>
                </a:solidFill>
                <a:sym typeface="+mn-ea"/>
              </a:rPr>
              <a:t>最新版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55100" y="844791"/>
            <a:ext cx="3007096" cy="4261541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处理机调度算法的目标</a:t>
            </a: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97389" y="5098448"/>
            <a:ext cx="7524273" cy="92172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  <a:headEnd/>
            <a:tailEnd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pSp>
        <p:nvGrpSpPr>
          <p:cNvPr id="23" name="iṡļiḓe"/>
          <p:cNvGrpSpPr/>
          <p:nvPr/>
        </p:nvGrpSpPr>
        <p:grpSpPr>
          <a:xfrm>
            <a:off x="721892" y="1167531"/>
            <a:ext cx="8924901" cy="2333733"/>
            <a:chOff x="660400" y="1787149"/>
            <a:chExt cx="8924901" cy="2333733"/>
          </a:xfrm>
        </p:grpSpPr>
        <p:grpSp>
          <p:nvGrpSpPr>
            <p:cNvPr id="25" name="iSḻíḓè"/>
            <p:cNvGrpSpPr/>
            <p:nvPr/>
          </p:nvGrpSpPr>
          <p:grpSpPr>
            <a:xfrm>
              <a:off x="1296567" y="1835355"/>
              <a:ext cx="8288734" cy="2285527"/>
              <a:chOff x="1296567" y="1835355"/>
              <a:chExt cx="10454169" cy="2285527"/>
            </a:xfrm>
          </p:grpSpPr>
          <p:sp>
            <p:nvSpPr>
              <p:cNvPr id="33" name="îṧľîḋé"/>
              <p:cNvSpPr txBox="1"/>
              <p:nvPr/>
            </p:nvSpPr>
            <p:spPr>
              <a:xfrm>
                <a:off x="1296568" y="1835355"/>
                <a:ext cx="2495356" cy="38942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400" dirty="0">
                    <a:solidFill>
                      <a:srgbClr val="FF0000"/>
                    </a:solidFill>
                  </a:rPr>
                  <a:t>共同目标：</a:t>
                </a:r>
              </a:p>
            </p:txBody>
          </p:sp>
          <p:sp>
            <p:nvSpPr>
              <p:cNvPr id="37" name="íşļîḓé"/>
              <p:cNvSpPr/>
              <p:nvPr/>
            </p:nvSpPr>
            <p:spPr bwMode="auto">
              <a:xfrm>
                <a:off x="1296567" y="2279077"/>
                <a:ext cx="3095536" cy="18418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32000"/>
                  </a:lnSpc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200" dirty="0"/>
                  <a:t>资源利用率</a:t>
                </a:r>
              </a:p>
            </p:txBody>
          </p:sp>
          <p:sp>
            <p:nvSpPr>
              <p:cNvPr id="59" name="íşļîḓé"/>
              <p:cNvSpPr/>
              <p:nvPr/>
            </p:nvSpPr>
            <p:spPr bwMode="auto">
              <a:xfrm>
                <a:off x="4048290" y="2261706"/>
                <a:ext cx="3095536" cy="18418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32000"/>
                  </a:lnSpc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200" dirty="0"/>
                  <a:t>公平性</a:t>
                </a:r>
              </a:p>
            </p:txBody>
          </p:sp>
          <p:sp>
            <p:nvSpPr>
              <p:cNvPr id="60" name="íşļîḓé"/>
              <p:cNvSpPr/>
              <p:nvPr/>
            </p:nvSpPr>
            <p:spPr bwMode="auto">
              <a:xfrm>
                <a:off x="6334524" y="2301698"/>
                <a:ext cx="3095536" cy="5232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32000"/>
                  </a:lnSpc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200" dirty="0"/>
                  <a:t>平衡性</a:t>
                </a:r>
              </a:p>
            </p:txBody>
          </p:sp>
          <p:sp>
            <p:nvSpPr>
              <p:cNvPr id="61" name="íşļîḓé"/>
              <p:cNvSpPr/>
              <p:nvPr/>
            </p:nvSpPr>
            <p:spPr bwMode="auto">
              <a:xfrm>
                <a:off x="8655200" y="2331963"/>
                <a:ext cx="3095536" cy="5232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32000"/>
                  </a:lnSpc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200" dirty="0"/>
                  <a:t>策略强制执行</a:t>
                </a:r>
              </a:p>
            </p:txBody>
          </p:sp>
        </p:grpSp>
        <p:grpSp>
          <p:nvGrpSpPr>
            <p:cNvPr id="30" name="ïS1íḋé"/>
            <p:cNvGrpSpPr/>
            <p:nvPr/>
          </p:nvGrpSpPr>
          <p:grpSpPr>
            <a:xfrm>
              <a:off x="660400" y="1787149"/>
              <a:ext cx="497734" cy="497734"/>
              <a:chOff x="660400" y="1787149"/>
              <a:chExt cx="497734" cy="497734"/>
            </a:xfrm>
          </p:grpSpPr>
          <p:sp>
            <p:nvSpPr>
              <p:cNvPr id="31" name="islîḋe"/>
              <p:cNvSpPr/>
              <p:nvPr/>
            </p:nvSpPr>
            <p:spPr>
              <a:xfrm>
                <a:off x="660400" y="1787149"/>
                <a:ext cx="497734" cy="497734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2" name="îŝlîďe"/>
              <p:cNvSpPr/>
              <p:nvPr/>
            </p:nvSpPr>
            <p:spPr>
              <a:xfrm>
                <a:off x="779848" y="1918584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38" name="iṡļiḓe"/>
          <p:cNvGrpSpPr/>
          <p:nvPr/>
        </p:nvGrpSpPr>
        <p:grpSpPr>
          <a:xfrm>
            <a:off x="1705320" y="2529970"/>
            <a:ext cx="7914168" cy="1188667"/>
            <a:chOff x="660400" y="1787149"/>
            <a:chExt cx="7914168" cy="1188667"/>
          </a:xfrm>
        </p:grpSpPr>
        <p:grpSp>
          <p:nvGrpSpPr>
            <p:cNvPr id="39" name="iSḻíḓè"/>
            <p:cNvGrpSpPr/>
            <p:nvPr/>
          </p:nvGrpSpPr>
          <p:grpSpPr>
            <a:xfrm>
              <a:off x="1296567" y="1835355"/>
              <a:ext cx="7278001" cy="1140461"/>
              <a:chOff x="1296567" y="1835355"/>
              <a:chExt cx="9179382" cy="1140461"/>
            </a:xfrm>
          </p:grpSpPr>
          <p:sp>
            <p:nvSpPr>
              <p:cNvPr id="43" name="îṧľîḋé"/>
              <p:cNvSpPr txBox="1"/>
              <p:nvPr/>
            </p:nvSpPr>
            <p:spPr>
              <a:xfrm>
                <a:off x="1296567" y="1835355"/>
                <a:ext cx="3516577" cy="38942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400" dirty="0"/>
                  <a:t>批处理系统的目标：</a:t>
                </a:r>
              </a:p>
            </p:txBody>
          </p:sp>
          <p:sp>
            <p:nvSpPr>
              <p:cNvPr id="44" name="íşļîḓé"/>
              <p:cNvSpPr/>
              <p:nvPr/>
            </p:nvSpPr>
            <p:spPr bwMode="auto">
              <a:xfrm>
                <a:off x="1296567" y="2279078"/>
                <a:ext cx="9179382" cy="6967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32000"/>
                  </a:lnSpc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200" dirty="0"/>
                  <a:t>平均周转时间短、系统吞吐量高、处理机利用率高</a:t>
                </a:r>
              </a:p>
            </p:txBody>
          </p:sp>
        </p:grpSp>
        <p:grpSp>
          <p:nvGrpSpPr>
            <p:cNvPr id="40" name="ïS1íḋé"/>
            <p:cNvGrpSpPr/>
            <p:nvPr/>
          </p:nvGrpSpPr>
          <p:grpSpPr>
            <a:xfrm>
              <a:off x="660400" y="1787149"/>
              <a:ext cx="497734" cy="497734"/>
              <a:chOff x="660400" y="1787149"/>
              <a:chExt cx="497734" cy="497734"/>
            </a:xfrm>
          </p:grpSpPr>
          <p:sp>
            <p:nvSpPr>
              <p:cNvPr id="41" name="islîḋe"/>
              <p:cNvSpPr/>
              <p:nvPr/>
            </p:nvSpPr>
            <p:spPr>
              <a:xfrm>
                <a:off x="660400" y="1787149"/>
                <a:ext cx="497734" cy="497734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2" name="îŝlîďe"/>
              <p:cNvSpPr/>
              <p:nvPr/>
            </p:nvSpPr>
            <p:spPr>
              <a:xfrm>
                <a:off x="779848" y="1918584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45" name="iṡļiḓe"/>
          <p:cNvGrpSpPr/>
          <p:nvPr/>
        </p:nvGrpSpPr>
        <p:grpSpPr>
          <a:xfrm>
            <a:off x="2865786" y="3772937"/>
            <a:ext cx="6589110" cy="1125831"/>
            <a:chOff x="660400" y="1787149"/>
            <a:chExt cx="6589110" cy="1125831"/>
          </a:xfrm>
        </p:grpSpPr>
        <p:grpSp>
          <p:nvGrpSpPr>
            <p:cNvPr id="46" name="iSḻíḓè"/>
            <p:cNvGrpSpPr/>
            <p:nvPr/>
          </p:nvGrpSpPr>
          <p:grpSpPr>
            <a:xfrm>
              <a:off x="1296567" y="1835355"/>
              <a:ext cx="5952943" cy="1077625"/>
              <a:chOff x="1296567" y="1835355"/>
              <a:chExt cx="7508152" cy="1077625"/>
            </a:xfrm>
          </p:grpSpPr>
          <p:sp>
            <p:nvSpPr>
              <p:cNvPr id="50" name="îṧľîḋé"/>
              <p:cNvSpPr txBox="1"/>
              <p:nvPr/>
            </p:nvSpPr>
            <p:spPr>
              <a:xfrm>
                <a:off x="1296567" y="1835355"/>
                <a:ext cx="3516577" cy="38942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400" dirty="0"/>
                  <a:t>分时系统的目标：</a:t>
                </a:r>
              </a:p>
            </p:txBody>
          </p:sp>
          <p:sp>
            <p:nvSpPr>
              <p:cNvPr id="51" name="íşļîḓé"/>
              <p:cNvSpPr/>
              <p:nvPr/>
            </p:nvSpPr>
            <p:spPr bwMode="auto">
              <a:xfrm>
                <a:off x="1296567" y="2279078"/>
                <a:ext cx="7508152" cy="6339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32000"/>
                  </a:lnSpc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200" dirty="0"/>
                  <a:t>响应时间快、均衡性</a:t>
                </a:r>
              </a:p>
            </p:txBody>
          </p:sp>
        </p:grpSp>
        <p:grpSp>
          <p:nvGrpSpPr>
            <p:cNvPr id="47" name="ïS1íḋé"/>
            <p:cNvGrpSpPr/>
            <p:nvPr/>
          </p:nvGrpSpPr>
          <p:grpSpPr>
            <a:xfrm>
              <a:off x="660400" y="1787149"/>
              <a:ext cx="497734" cy="497734"/>
              <a:chOff x="660400" y="1787149"/>
              <a:chExt cx="497734" cy="497734"/>
            </a:xfrm>
          </p:grpSpPr>
          <p:sp>
            <p:nvSpPr>
              <p:cNvPr id="48" name="islîḋe"/>
              <p:cNvSpPr/>
              <p:nvPr/>
            </p:nvSpPr>
            <p:spPr>
              <a:xfrm>
                <a:off x="660400" y="1787149"/>
                <a:ext cx="497734" cy="497734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îŝlîďe"/>
              <p:cNvSpPr/>
              <p:nvPr/>
            </p:nvSpPr>
            <p:spPr>
              <a:xfrm>
                <a:off x="779848" y="1918584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52" name="iṡļiḓe"/>
          <p:cNvGrpSpPr/>
          <p:nvPr/>
        </p:nvGrpSpPr>
        <p:grpSpPr>
          <a:xfrm>
            <a:off x="6923359" y="3767672"/>
            <a:ext cx="4566813" cy="1125831"/>
            <a:chOff x="660400" y="1787149"/>
            <a:chExt cx="4566813" cy="1125831"/>
          </a:xfrm>
        </p:grpSpPr>
        <p:grpSp>
          <p:nvGrpSpPr>
            <p:cNvPr id="53" name="iSḻíḓè"/>
            <p:cNvGrpSpPr/>
            <p:nvPr/>
          </p:nvGrpSpPr>
          <p:grpSpPr>
            <a:xfrm>
              <a:off x="1296567" y="1835355"/>
              <a:ext cx="3930646" cy="1077625"/>
              <a:chOff x="1296567" y="1835355"/>
              <a:chExt cx="4957529" cy="1077625"/>
            </a:xfrm>
          </p:grpSpPr>
          <p:sp>
            <p:nvSpPr>
              <p:cNvPr id="57" name="îṧľîḋé"/>
              <p:cNvSpPr txBox="1"/>
              <p:nvPr/>
            </p:nvSpPr>
            <p:spPr>
              <a:xfrm>
                <a:off x="1296567" y="1835355"/>
                <a:ext cx="3516577" cy="38942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400" dirty="0"/>
                  <a:t>实时系统的目标：</a:t>
                </a:r>
              </a:p>
            </p:txBody>
          </p:sp>
          <p:sp>
            <p:nvSpPr>
              <p:cNvPr id="58" name="íşļîḓé"/>
              <p:cNvSpPr/>
              <p:nvPr/>
            </p:nvSpPr>
            <p:spPr bwMode="auto">
              <a:xfrm>
                <a:off x="1296567" y="2279078"/>
                <a:ext cx="4957529" cy="6339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32000"/>
                  </a:lnSpc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200" dirty="0"/>
                  <a:t>截止时间的保证、可预测性</a:t>
                </a:r>
              </a:p>
            </p:txBody>
          </p:sp>
        </p:grpSp>
        <p:grpSp>
          <p:nvGrpSpPr>
            <p:cNvPr id="54" name="ïS1íḋé"/>
            <p:cNvGrpSpPr/>
            <p:nvPr/>
          </p:nvGrpSpPr>
          <p:grpSpPr>
            <a:xfrm>
              <a:off x="660400" y="1787149"/>
              <a:ext cx="497734" cy="497734"/>
              <a:chOff x="660400" y="1787149"/>
              <a:chExt cx="497734" cy="497734"/>
            </a:xfrm>
          </p:grpSpPr>
          <p:sp>
            <p:nvSpPr>
              <p:cNvPr id="55" name="islîḋe"/>
              <p:cNvSpPr/>
              <p:nvPr/>
            </p:nvSpPr>
            <p:spPr>
              <a:xfrm>
                <a:off x="660400" y="1787149"/>
                <a:ext cx="497734" cy="497734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6" name="îŝlîďe"/>
              <p:cNvSpPr/>
              <p:nvPr/>
            </p:nvSpPr>
            <p:spPr>
              <a:xfrm>
                <a:off x="779848" y="1918584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评价指标</a:t>
            </a:r>
          </a:p>
        </p:txBody>
      </p:sp>
      <p:sp>
        <p:nvSpPr>
          <p:cNvPr id="23" name="íšḻîḋè"/>
          <p:cNvSpPr/>
          <p:nvPr/>
        </p:nvSpPr>
        <p:spPr>
          <a:xfrm>
            <a:off x="1746843" y="4377656"/>
            <a:ext cx="10211377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从用户通过键盘提交请求开始，直到系统首次显示出处理结果为止的一段时间。</a:t>
            </a:r>
          </a:p>
        </p:txBody>
      </p:sp>
      <p:sp>
        <p:nvSpPr>
          <p:cNvPr id="25" name="i$lîďê"/>
          <p:cNvSpPr/>
          <p:nvPr/>
        </p:nvSpPr>
        <p:spPr>
          <a:xfrm>
            <a:off x="1802479" y="3847487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响应时间：</a:t>
            </a:r>
          </a:p>
        </p:txBody>
      </p:sp>
      <p:sp>
        <p:nvSpPr>
          <p:cNvPr id="30" name="î$ļíḋè"/>
          <p:cNvSpPr/>
          <p:nvPr/>
        </p:nvSpPr>
        <p:spPr>
          <a:xfrm>
            <a:off x="1802481" y="5689101"/>
            <a:ext cx="6826614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进程在就绪队列中等待调度的所有时间之和。</a:t>
            </a:r>
          </a:p>
        </p:txBody>
      </p:sp>
      <p:sp>
        <p:nvSpPr>
          <p:cNvPr id="31" name="ïṧḷïḋè"/>
          <p:cNvSpPr/>
          <p:nvPr/>
        </p:nvSpPr>
        <p:spPr>
          <a:xfrm>
            <a:off x="1802481" y="5176326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0000FF"/>
                </a:solidFill>
              </a:rPr>
              <a:t>等待时间（进程调度）：</a:t>
            </a:r>
          </a:p>
        </p:txBody>
      </p:sp>
      <p:sp>
        <p:nvSpPr>
          <p:cNvPr id="32" name="îs1iďé"/>
          <p:cNvSpPr/>
          <p:nvPr/>
        </p:nvSpPr>
        <p:spPr>
          <a:xfrm>
            <a:off x="1821537" y="1830118"/>
            <a:ext cx="9711234" cy="14906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spcBef>
                <a:spcPts val="4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从作业提交给系统开始，到作业完成为止的这段时间间隔。</a:t>
            </a:r>
          </a:p>
          <a:p>
            <a:pPr marL="342900" indent="-342900">
              <a:lnSpc>
                <a:spcPct val="120000"/>
              </a:lnSpc>
              <a:spcBef>
                <a:spcPts val="4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solidFill>
                  <a:srgbClr val="FF0000"/>
                </a:solidFill>
              </a:rPr>
              <a:t>平均周转时间</a:t>
            </a:r>
          </a:p>
          <a:p>
            <a:pPr marL="342900" indent="-342900">
              <a:lnSpc>
                <a:spcPct val="120000"/>
              </a:lnSpc>
              <a:spcBef>
                <a:spcPts val="4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solidFill>
                  <a:srgbClr val="FF0000"/>
                </a:solidFill>
              </a:rPr>
              <a:t>带权周转时间：</a:t>
            </a:r>
            <a:r>
              <a:rPr lang="zh-CN" altLang="en-US" sz="2200" dirty="0"/>
              <a:t>权值为作业周转时间</a:t>
            </a:r>
            <a:r>
              <a:rPr lang="en-US" altLang="zh-CN" sz="2200" dirty="0"/>
              <a:t>T</a:t>
            </a:r>
            <a:r>
              <a:rPr lang="zh-CN" altLang="en-US" sz="2200" dirty="0"/>
              <a:t>与系统为之服务时间</a:t>
            </a:r>
            <a:r>
              <a:rPr lang="en-US" altLang="zh-CN" sz="2200" dirty="0"/>
              <a:t>Ts</a:t>
            </a:r>
            <a:r>
              <a:rPr lang="zh-CN" altLang="en-US" sz="2200" dirty="0"/>
              <a:t>之比。</a:t>
            </a:r>
          </a:p>
          <a:p>
            <a:pPr marL="342900" indent="-342900">
              <a:lnSpc>
                <a:spcPct val="120000"/>
              </a:lnSpc>
              <a:spcBef>
                <a:spcPts val="4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平均带权周转时间</a:t>
            </a:r>
          </a:p>
        </p:txBody>
      </p:sp>
      <p:sp>
        <p:nvSpPr>
          <p:cNvPr id="33" name="íšḻíḑê"/>
          <p:cNvSpPr/>
          <p:nvPr/>
        </p:nvSpPr>
        <p:spPr>
          <a:xfrm>
            <a:off x="1802480" y="1361556"/>
            <a:ext cx="3696051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周转时间：</a:t>
            </a:r>
          </a:p>
        </p:txBody>
      </p:sp>
      <p:sp>
        <p:nvSpPr>
          <p:cNvPr id="37" name="îSļiḓè"/>
          <p:cNvSpPr/>
          <p:nvPr/>
        </p:nvSpPr>
        <p:spPr>
          <a:xfrm>
            <a:off x="1118977" y="1347994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38" name="íṥḻîḓe"/>
          <p:cNvSpPr/>
          <p:nvPr/>
        </p:nvSpPr>
        <p:spPr>
          <a:xfrm>
            <a:off x="1118977" y="5093724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39" name="îşļiḓè"/>
          <p:cNvSpPr/>
          <p:nvPr/>
        </p:nvSpPr>
        <p:spPr>
          <a:xfrm>
            <a:off x="1118977" y="3746961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40" name="îṡḷíďe"/>
          <p:cNvSpPr/>
          <p:nvPr/>
        </p:nvSpPr>
        <p:spPr>
          <a:xfrm>
            <a:off x="1309232" y="1544132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41" name="íSlíḋe"/>
          <p:cNvSpPr/>
          <p:nvPr/>
        </p:nvSpPr>
        <p:spPr>
          <a:xfrm>
            <a:off x="1309231" y="396897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42" name="ïśḷïḓe"/>
          <p:cNvSpPr/>
          <p:nvPr/>
        </p:nvSpPr>
        <p:spPr>
          <a:xfrm>
            <a:off x="1338170" y="5283184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grpSp>
        <p:nvGrpSpPr>
          <p:cNvPr id="10" name="组合 9"/>
          <p:cNvGrpSpPr/>
          <p:nvPr/>
        </p:nvGrpSpPr>
        <p:grpSpPr>
          <a:xfrm>
            <a:off x="4021584" y="1038358"/>
            <a:ext cx="4003830" cy="1509533"/>
            <a:chOff x="4021584" y="1038358"/>
            <a:chExt cx="4003830" cy="1509533"/>
          </a:xfrm>
        </p:grpSpPr>
        <p:cxnSp>
          <p:nvCxnSpPr>
            <p:cNvPr id="4" name="连接符: 肘形 3"/>
            <p:cNvCxnSpPr/>
            <p:nvPr/>
          </p:nvCxnSpPr>
          <p:spPr>
            <a:xfrm flipV="1">
              <a:off x="4021584" y="1544132"/>
              <a:ext cx="1997476" cy="1003759"/>
            </a:xfrm>
            <a:prstGeom prst="bentConnector3">
              <a:avLst>
                <a:gd name="adj1" fmla="val 59333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组合 8"/>
          <p:cNvGrpSpPr/>
          <p:nvPr/>
        </p:nvGrpSpPr>
        <p:grpSpPr>
          <a:xfrm>
            <a:off x="4021455" y="2991485"/>
            <a:ext cx="2005965" cy="807720"/>
            <a:chOff x="4021455" y="2991485"/>
            <a:chExt cx="2005965" cy="807720"/>
          </a:xfrm>
        </p:grpSpPr>
        <p:cxnSp>
          <p:nvCxnSpPr>
            <p:cNvPr id="51" name="连接符: 肘形 50"/>
            <p:cNvCxnSpPr/>
            <p:nvPr/>
          </p:nvCxnSpPr>
          <p:spPr>
            <a:xfrm>
              <a:off x="4021455" y="2991485"/>
              <a:ext cx="2005965" cy="807720"/>
            </a:xfrm>
            <a:prstGeom prst="bentConnector3">
              <a:avLst>
                <a:gd name="adj1" fmla="val 50009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410" name="Pictur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1875" y="1000125"/>
            <a:ext cx="1647825" cy="976313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7426" name="Picture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1875" y="3192463"/>
            <a:ext cx="1917700" cy="1203325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47623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  <a:ea typeface="+mj-ea"/>
              </a:rPr>
              <a:t>3.1 </a:t>
            </a:r>
            <a:r>
              <a:rPr lang="zh-CN" altLang="en-US" sz="2400" dirty="0">
                <a:latin typeface="+mj-ea"/>
                <a:ea typeface="+mj-ea"/>
              </a:rPr>
              <a:t>处理机调度概述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11441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</a:rPr>
              <a:t>3.2 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</a:rPr>
              <a:t>调度算法</a:t>
            </a:r>
            <a:endParaRPr lang="en-US" altLang="zh-CN" sz="2400" b="1" dirty="0">
              <a:solidFill>
                <a:srgbClr val="0000FF"/>
              </a:solidFill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73353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3.3 </a:t>
            </a:r>
            <a:r>
              <a:rPr lang="zh-CN" altLang="en-US" sz="2400" dirty="0">
                <a:latin typeface="+mj-ea"/>
              </a:rPr>
              <a:t>实时调度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352663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3.4 Linux</a:t>
            </a:r>
            <a:r>
              <a:rPr lang="zh-CN" altLang="en-US" sz="2400" dirty="0">
                <a:latin typeface="+mj-ea"/>
              </a:rPr>
              <a:t>进程调度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1696469" y="3971788"/>
            <a:ext cx="547877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3.5 </a:t>
            </a:r>
            <a:r>
              <a:rPr lang="zh-CN" altLang="en-US" sz="2400" dirty="0">
                <a:latin typeface="+mj-ea"/>
              </a:rPr>
              <a:t>死锁概述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590913"/>
            <a:ext cx="368215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3.6 </a:t>
            </a:r>
            <a:r>
              <a:rPr lang="zh-CN" altLang="en-US" sz="2400" dirty="0">
                <a:latin typeface="+mj-ea"/>
              </a:rPr>
              <a:t>预防死锁</a:t>
            </a:r>
          </a:p>
        </p:txBody>
      </p:sp>
      <p:sp>
        <p:nvSpPr>
          <p:cNvPr id="29" name="矩形 28"/>
          <p:cNvSpPr/>
          <p:nvPr/>
        </p:nvSpPr>
        <p:spPr>
          <a:xfrm>
            <a:off x="1696469" y="5210038"/>
            <a:ext cx="28662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3.7 </a:t>
            </a:r>
            <a:r>
              <a:rPr lang="zh-CN" altLang="en-US" sz="2400" dirty="0">
                <a:latin typeface="+mj-ea"/>
              </a:rPr>
              <a:t>避免死锁</a:t>
            </a:r>
          </a:p>
        </p:txBody>
      </p:sp>
      <p:sp>
        <p:nvSpPr>
          <p:cNvPr id="3" name="矩形 2"/>
          <p:cNvSpPr/>
          <p:nvPr/>
        </p:nvSpPr>
        <p:spPr>
          <a:xfrm>
            <a:off x="6466113" y="2386337"/>
            <a:ext cx="519169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3</a:t>
            </a:r>
            <a:r>
              <a:rPr lang="zh-CN" altLang="en-US" sz="3600" dirty="0">
                <a:solidFill>
                  <a:srgbClr val="000000"/>
                </a:solidFill>
              </a:rPr>
              <a:t>章 处理机调度与死锁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6640497" y="3190471"/>
            <a:ext cx="490662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4392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02436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67983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29831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92439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56210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516282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33" name="矩形 32"/>
          <p:cNvSpPr/>
          <p:nvPr/>
        </p:nvSpPr>
        <p:spPr>
          <a:xfrm>
            <a:off x="1696468" y="5863246"/>
            <a:ext cx="421914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3.8 </a:t>
            </a:r>
            <a:r>
              <a:rPr lang="zh-CN" altLang="en-US" sz="2400" dirty="0">
                <a:latin typeface="+mj-ea"/>
              </a:rPr>
              <a:t>死锁的检测与解除</a:t>
            </a:r>
          </a:p>
        </p:txBody>
      </p:sp>
      <p:pic>
        <p:nvPicPr>
          <p:cNvPr id="34" name="图片 3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7" y="58160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作业调度算法</a:t>
            </a:r>
          </a:p>
        </p:txBody>
      </p:sp>
      <p:grpSp>
        <p:nvGrpSpPr>
          <p:cNvPr id="11" name="21764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5" y="1197344"/>
            <a:ext cx="10984047" cy="3818454"/>
            <a:chOff x="673100" y="1929384"/>
            <a:chExt cx="10984047" cy="3818454"/>
          </a:xfrm>
        </p:grpSpPr>
        <p:sp>
          <p:nvSpPr>
            <p:cNvPr id="12" name="ïsḷîḋê"/>
            <p:cNvSpPr/>
            <p:nvPr/>
          </p:nvSpPr>
          <p:spPr>
            <a:xfrm>
              <a:off x="673100" y="1929384"/>
              <a:ext cx="10845800" cy="2125980"/>
            </a:xfrm>
            <a:prstGeom prst="rightArrow">
              <a:avLst>
                <a:gd name="adj1" fmla="val 50000"/>
                <a:gd name="adj2" fmla="val 42258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3" name="ïṩḻíḑe"/>
            <p:cNvSpPr/>
            <p:nvPr/>
          </p:nvSpPr>
          <p:spPr>
            <a:xfrm rot="2700000">
              <a:off x="1148317" y="2189617"/>
              <a:ext cx="1605516" cy="1605516"/>
            </a:xfrm>
            <a:custGeom>
              <a:avLst/>
              <a:gdLst>
                <a:gd name="connsiteX0" fmla="*/ 135628 w 1605516"/>
                <a:gd name="connsiteY0" fmla="*/ 135628 h 1605516"/>
                <a:gd name="connsiteX1" fmla="*/ 463063 w 1605516"/>
                <a:gd name="connsiteY1" fmla="*/ 0 h 1605516"/>
                <a:gd name="connsiteX2" fmla="*/ 1142453 w 1605516"/>
                <a:gd name="connsiteY2" fmla="*/ 0 h 1605516"/>
                <a:gd name="connsiteX3" fmla="*/ 1605516 w 1605516"/>
                <a:gd name="connsiteY3" fmla="*/ 463063 h 1605516"/>
                <a:gd name="connsiteX4" fmla="*/ 1605516 w 1605516"/>
                <a:gd name="connsiteY4" fmla="*/ 1142453 h 1605516"/>
                <a:gd name="connsiteX5" fmla="*/ 1142453 w 1605516"/>
                <a:gd name="connsiteY5" fmla="*/ 1605516 h 1605516"/>
                <a:gd name="connsiteX6" fmla="*/ 463063 w 1605516"/>
                <a:gd name="connsiteY6" fmla="*/ 1605516 h 1605516"/>
                <a:gd name="connsiteX7" fmla="*/ 282818 w 1605516"/>
                <a:gd name="connsiteY7" fmla="*/ 1569126 h 1605516"/>
                <a:gd name="connsiteX8" fmla="*/ 247355 w 1605516"/>
                <a:gd name="connsiteY8" fmla="*/ 1549878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637 w 1605516"/>
                <a:gd name="connsiteY14" fmla="*/ 1358159 h 1605516"/>
                <a:gd name="connsiteX15" fmla="*/ 36390 w 1605516"/>
                <a:gd name="connsiteY15" fmla="*/ 1322698 h 1605516"/>
                <a:gd name="connsiteX16" fmla="*/ 0 w 1605516"/>
                <a:gd name="connsiteY16" fmla="*/ 1142453 h 1605516"/>
                <a:gd name="connsiteX17" fmla="*/ 0 w 1605516"/>
                <a:gd name="connsiteY17" fmla="*/ 463063 h 1605516"/>
                <a:gd name="connsiteX18" fmla="*/ 135628 w 1605516"/>
                <a:gd name="connsiteY18" fmla="*/ 135628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628" y="135628"/>
                  </a:moveTo>
                  <a:cubicBezTo>
                    <a:pt x="219426" y="51830"/>
                    <a:pt x="335192" y="0"/>
                    <a:pt x="463063" y="0"/>
                  </a:cubicBezTo>
                  <a:lnTo>
                    <a:pt x="1142453" y="0"/>
                  </a:lnTo>
                  <a:cubicBezTo>
                    <a:pt x="1398196" y="0"/>
                    <a:pt x="1605516" y="207320"/>
                    <a:pt x="1605516" y="463063"/>
                  </a:cubicBezTo>
                  <a:lnTo>
                    <a:pt x="1605516" y="1142453"/>
                  </a:lnTo>
                  <a:cubicBezTo>
                    <a:pt x="1605516" y="1398196"/>
                    <a:pt x="1398196" y="1605516"/>
                    <a:pt x="1142453" y="1605516"/>
                  </a:cubicBezTo>
                  <a:lnTo>
                    <a:pt x="463063" y="1605516"/>
                  </a:lnTo>
                  <a:cubicBezTo>
                    <a:pt x="399127" y="1605516"/>
                    <a:pt x="338218" y="1592559"/>
                    <a:pt x="282818" y="1569126"/>
                  </a:cubicBezTo>
                  <a:lnTo>
                    <a:pt x="247355" y="1549878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637" y="1358159"/>
                  </a:lnTo>
                  <a:lnTo>
                    <a:pt x="36390" y="1322698"/>
                  </a:lnTo>
                  <a:cubicBezTo>
                    <a:pt x="12957" y="1267298"/>
                    <a:pt x="0" y="1206389"/>
                    <a:pt x="0" y="1142453"/>
                  </a:cubicBezTo>
                  <a:lnTo>
                    <a:pt x="0" y="463063"/>
                  </a:lnTo>
                  <a:cubicBezTo>
                    <a:pt x="0" y="335192"/>
                    <a:pt x="51830" y="219426"/>
                    <a:pt x="135628" y="135628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14" name="is1íḑe"/>
            <p:cNvSpPr/>
            <p:nvPr/>
          </p:nvSpPr>
          <p:spPr>
            <a:xfrm rot="2700000">
              <a:off x="3911600" y="2189617"/>
              <a:ext cx="1605516" cy="1605516"/>
            </a:xfrm>
            <a:custGeom>
              <a:avLst/>
              <a:gdLst>
                <a:gd name="connsiteX0" fmla="*/ 135459 w 1605516"/>
                <a:gd name="connsiteY0" fmla="*/ 135459 h 1605516"/>
                <a:gd name="connsiteX1" fmla="*/ 462485 w 1605516"/>
                <a:gd name="connsiteY1" fmla="*/ 0 h 1605516"/>
                <a:gd name="connsiteX2" fmla="*/ 1143031 w 1605516"/>
                <a:gd name="connsiteY2" fmla="*/ 0 h 1605516"/>
                <a:gd name="connsiteX3" fmla="*/ 1605516 w 1605516"/>
                <a:gd name="connsiteY3" fmla="*/ 462485 h 1605516"/>
                <a:gd name="connsiteX4" fmla="*/ 1605516 w 1605516"/>
                <a:gd name="connsiteY4" fmla="*/ 1143031 h 1605516"/>
                <a:gd name="connsiteX5" fmla="*/ 1143031 w 1605516"/>
                <a:gd name="connsiteY5" fmla="*/ 1605516 h 1605516"/>
                <a:gd name="connsiteX6" fmla="*/ 462485 w 1605516"/>
                <a:gd name="connsiteY6" fmla="*/ 1605516 h 1605516"/>
                <a:gd name="connsiteX7" fmla="*/ 282465 w 1605516"/>
                <a:gd name="connsiteY7" fmla="*/ 1569172 h 1605516"/>
                <a:gd name="connsiteX8" fmla="*/ 247202 w 1605516"/>
                <a:gd name="connsiteY8" fmla="*/ 1550031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84 w 1605516"/>
                <a:gd name="connsiteY14" fmla="*/ 1358313 h 1605516"/>
                <a:gd name="connsiteX15" fmla="*/ 36345 w 1605516"/>
                <a:gd name="connsiteY15" fmla="*/ 1323051 h 1605516"/>
                <a:gd name="connsiteX16" fmla="*/ 0 w 1605516"/>
                <a:gd name="connsiteY16" fmla="*/ 1143031 h 1605516"/>
                <a:gd name="connsiteX17" fmla="*/ 0 w 1605516"/>
                <a:gd name="connsiteY17" fmla="*/ 462485 h 1605516"/>
                <a:gd name="connsiteX18" fmla="*/ 135459 w 1605516"/>
                <a:gd name="connsiteY18" fmla="*/ 135459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59" y="135459"/>
                  </a:moveTo>
                  <a:cubicBezTo>
                    <a:pt x="219152" y="51765"/>
                    <a:pt x="334773" y="0"/>
                    <a:pt x="462485" y="0"/>
                  </a:cubicBezTo>
                  <a:lnTo>
                    <a:pt x="1143031" y="0"/>
                  </a:lnTo>
                  <a:cubicBezTo>
                    <a:pt x="1398454" y="0"/>
                    <a:pt x="1605516" y="207062"/>
                    <a:pt x="1605516" y="462485"/>
                  </a:cubicBezTo>
                  <a:lnTo>
                    <a:pt x="1605516" y="1143031"/>
                  </a:lnTo>
                  <a:cubicBezTo>
                    <a:pt x="1605516" y="1398454"/>
                    <a:pt x="1398454" y="1605516"/>
                    <a:pt x="1143031" y="1605516"/>
                  </a:cubicBezTo>
                  <a:lnTo>
                    <a:pt x="462485" y="1605516"/>
                  </a:lnTo>
                  <a:cubicBezTo>
                    <a:pt x="398629" y="1605516"/>
                    <a:pt x="337796" y="1592575"/>
                    <a:pt x="282465" y="1569172"/>
                  </a:cubicBezTo>
                  <a:lnTo>
                    <a:pt x="247202" y="1550031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84" y="1358313"/>
                  </a:lnTo>
                  <a:lnTo>
                    <a:pt x="36345" y="1323051"/>
                  </a:lnTo>
                  <a:cubicBezTo>
                    <a:pt x="12941" y="1267720"/>
                    <a:pt x="0" y="1206887"/>
                    <a:pt x="0" y="1143031"/>
                  </a:cubicBezTo>
                  <a:lnTo>
                    <a:pt x="0" y="462485"/>
                  </a:lnTo>
                  <a:cubicBezTo>
                    <a:pt x="0" y="334773"/>
                    <a:pt x="51765" y="219152"/>
                    <a:pt x="135459" y="1354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5" name="íṡ1ïḋé"/>
            <p:cNvSpPr/>
            <p:nvPr/>
          </p:nvSpPr>
          <p:spPr>
            <a:xfrm rot="2700000">
              <a:off x="6674883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7 w 1605516"/>
                <a:gd name="connsiteY7" fmla="*/ 1569179 h 1605516"/>
                <a:gd name="connsiteX8" fmla="*/ 247177 w 1605516"/>
                <a:gd name="connsiteY8" fmla="*/ 1550057 h 1605516"/>
                <a:gd name="connsiteX9" fmla="*/ 706899 w 1605516"/>
                <a:gd name="connsiteY9" fmla="*/ 1090335 h 1605516"/>
                <a:gd name="connsiteX10" fmla="*/ 802758 w 1605516"/>
                <a:gd name="connsiteY10" fmla="*/ 1186194 h 1605516"/>
                <a:gd name="connsiteX11" fmla="*/ 802758 w 1605516"/>
                <a:gd name="connsiteY11" fmla="*/ 802758 h 1605516"/>
                <a:gd name="connsiteX12" fmla="*/ 419322 w 1605516"/>
                <a:gd name="connsiteY12" fmla="*/ 802758 h 1605516"/>
                <a:gd name="connsiteX13" fmla="*/ 515181 w 1605516"/>
                <a:gd name="connsiteY13" fmla="*/ 898617 h 1605516"/>
                <a:gd name="connsiteX14" fmla="*/ 55459 w 1605516"/>
                <a:gd name="connsiteY14" fmla="*/ 1358339 h 1605516"/>
                <a:gd name="connsiteX15" fmla="*/ 36337 w 1605516"/>
                <a:gd name="connsiteY15" fmla="*/ 1323109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6" y="1605516"/>
                    <a:pt x="337726" y="1592577"/>
                    <a:pt x="282407" y="1569179"/>
                  </a:cubicBezTo>
                  <a:lnTo>
                    <a:pt x="247177" y="1550057"/>
                  </a:lnTo>
                  <a:lnTo>
                    <a:pt x="706899" y="1090335"/>
                  </a:lnTo>
                  <a:lnTo>
                    <a:pt x="802758" y="1186194"/>
                  </a:lnTo>
                  <a:lnTo>
                    <a:pt x="802758" y="802758"/>
                  </a:lnTo>
                  <a:lnTo>
                    <a:pt x="419322" y="802758"/>
                  </a:lnTo>
                  <a:lnTo>
                    <a:pt x="515181" y="898617"/>
                  </a:lnTo>
                  <a:lnTo>
                    <a:pt x="55459" y="1358339"/>
                  </a:lnTo>
                  <a:lnTo>
                    <a:pt x="36337" y="1323109"/>
                  </a:lnTo>
                  <a:cubicBezTo>
                    <a:pt x="12939" y="1267790"/>
                    <a:pt x="0" y="1206970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16" name="îṡlíḓè"/>
            <p:cNvSpPr/>
            <p:nvPr/>
          </p:nvSpPr>
          <p:spPr>
            <a:xfrm rot="2700000">
              <a:off x="9438167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6 w 1605516"/>
                <a:gd name="connsiteY7" fmla="*/ 1569179 h 1605516"/>
                <a:gd name="connsiteX8" fmla="*/ 247176 w 1605516"/>
                <a:gd name="connsiteY8" fmla="*/ 1550057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59 w 1605516"/>
                <a:gd name="connsiteY14" fmla="*/ 1358338 h 1605516"/>
                <a:gd name="connsiteX15" fmla="*/ 36337 w 1605516"/>
                <a:gd name="connsiteY15" fmla="*/ 1323110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7" y="1605516"/>
                    <a:pt x="337726" y="1592577"/>
                    <a:pt x="282406" y="1569179"/>
                  </a:cubicBezTo>
                  <a:lnTo>
                    <a:pt x="247176" y="1550057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59" y="1358338"/>
                  </a:lnTo>
                  <a:lnTo>
                    <a:pt x="36337" y="1323110"/>
                  </a:lnTo>
                  <a:cubicBezTo>
                    <a:pt x="12939" y="1267790"/>
                    <a:pt x="0" y="1206969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18" name="isľîdê"/>
            <p:cNvSpPr txBox="1"/>
            <p:nvPr/>
          </p:nvSpPr>
          <p:spPr>
            <a:xfrm>
              <a:off x="709542" y="4286122"/>
              <a:ext cx="2533740" cy="98240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lvl="1" indent="-342900">
                <a:lnSpc>
                  <a:spcPct val="120000"/>
                </a:lnSpc>
                <a:buClr>
                  <a:srgbClr val="FFC000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先来先服务调度算法</a:t>
              </a:r>
              <a:r>
                <a:rPr lang="en-US" altLang="zh-CN" sz="2400" dirty="0"/>
                <a:t>(FCFS)</a:t>
              </a:r>
            </a:p>
          </p:txBody>
        </p:sp>
        <p:sp>
          <p:nvSpPr>
            <p:cNvPr id="26" name="îṣḻidé"/>
            <p:cNvSpPr txBox="1"/>
            <p:nvPr/>
          </p:nvSpPr>
          <p:spPr>
            <a:xfrm>
              <a:off x="19606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1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27" name="ïŝ1ïḋè"/>
            <p:cNvSpPr txBox="1"/>
            <p:nvPr/>
          </p:nvSpPr>
          <p:spPr>
            <a:xfrm>
              <a:off x="4741597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2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28" name="í$lîdé"/>
            <p:cNvSpPr txBox="1"/>
            <p:nvPr/>
          </p:nvSpPr>
          <p:spPr>
            <a:xfrm>
              <a:off x="7522530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3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29" name="išḻïďè"/>
            <p:cNvSpPr txBox="1"/>
            <p:nvPr/>
          </p:nvSpPr>
          <p:spPr>
            <a:xfrm>
              <a:off x="103034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4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34" name="isľîdê"/>
            <p:cNvSpPr txBox="1"/>
            <p:nvPr/>
          </p:nvSpPr>
          <p:spPr>
            <a:xfrm>
              <a:off x="3243282" y="4300308"/>
              <a:ext cx="2769797" cy="98240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lvl="1" indent="-342900" algn="ctr">
                <a:lnSpc>
                  <a:spcPct val="120000"/>
                </a:lnSpc>
                <a:buClr>
                  <a:srgbClr val="FFC000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短作业优先调度算法</a:t>
              </a:r>
              <a:r>
                <a:rPr lang="en-US" altLang="zh-CN" sz="2400" dirty="0"/>
                <a:t>(SJF)</a:t>
              </a:r>
            </a:p>
          </p:txBody>
        </p:sp>
        <p:sp>
          <p:nvSpPr>
            <p:cNvPr id="35" name="isľîdê"/>
            <p:cNvSpPr txBox="1"/>
            <p:nvPr/>
          </p:nvSpPr>
          <p:spPr>
            <a:xfrm>
              <a:off x="6165124" y="4300308"/>
              <a:ext cx="2729500" cy="50335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lvl="1" indent="-342900" algn="ctr">
                <a:lnSpc>
                  <a:spcPct val="120000"/>
                </a:lnSpc>
                <a:buClr>
                  <a:srgbClr val="FFC000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优先级调度算法</a:t>
              </a:r>
              <a:r>
                <a:rPr lang="en-US" altLang="zh-CN" sz="2400" dirty="0"/>
                <a:t>(PR)</a:t>
              </a:r>
            </a:p>
          </p:txBody>
        </p:sp>
        <p:sp>
          <p:nvSpPr>
            <p:cNvPr id="36" name="isľîdê"/>
            <p:cNvSpPr txBox="1"/>
            <p:nvPr/>
          </p:nvSpPr>
          <p:spPr>
            <a:xfrm>
              <a:off x="9123407" y="4286122"/>
              <a:ext cx="2533740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342900" lvl="1" indent="-342900" algn="ctr">
                <a:lnSpc>
                  <a:spcPct val="120000"/>
                </a:lnSpc>
                <a:buClr>
                  <a:srgbClr val="FFC000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高响应比优先调度算法</a:t>
              </a:r>
              <a:r>
                <a:rPr lang="en-US" altLang="zh-CN" sz="2400" dirty="0"/>
                <a:t>(HRRN)</a:t>
              </a:r>
            </a:p>
          </p:txBody>
        </p:sp>
      </p:grpSp>
      <p:sp>
        <p:nvSpPr>
          <p:cNvPr id="25" name="isľîdê"/>
          <p:cNvSpPr txBox="1"/>
          <p:nvPr/>
        </p:nvSpPr>
        <p:spPr>
          <a:xfrm>
            <a:off x="953738" y="5247914"/>
            <a:ext cx="10416421" cy="66567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0" lvl="1">
              <a:lnSpc>
                <a:spcPct val="120000"/>
              </a:lnSpc>
              <a:buClr>
                <a:srgbClr val="FFC000"/>
              </a:buClr>
            </a:pPr>
            <a:r>
              <a:rPr lang="en-US" altLang="zh-CN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CFS</a:t>
            </a: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、</a:t>
            </a:r>
            <a:r>
              <a:rPr lang="en-US" altLang="zh-CN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JF</a:t>
            </a: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、</a:t>
            </a:r>
            <a:r>
              <a:rPr lang="en-US" altLang="zh-CN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</a:t>
            </a: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既可用于作业调度，也可用于进程调度</a:t>
            </a:r>
          </a:p>
        </p:txBody>
      </p:sp>
      <p:cxnSp>
        <p:nvCxnSpPr>
          <p:cNvPr id="3" name="直接连接符 2"/>
          <p:cNvCxnSpPr/>
          <p:nvPr/>
        </p:nvCxnSpPr>
        <p:spPr>
          <a:xfrm>
            <a:off x="950393" y="5889729"/>
            <a:ext cx="1042311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连接符 29"/>
          <p:cNvCxnSpPr/>
          <p:nvPr/>
        </p:nvCxnSpPr>
        <p:spPr>
          <a:xfrm>
            <a:off x="950393" y="5142937"/>
            <a:ext cx="1042311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进程调度算法</a:t>
            </a:r>
          </a:p>
        </p:txBody>
      </p:sp>
      <p:sp>
        <p:nvSpPr>
          <p:cNvPr id="29" name="矩形 28"/>
          <p:cNvSpPr/>
          <p:nvPr/>
        </p:nvSpPr>
        <p:spPr>
          <a:xfrm>
            <a:off x="1754760" y="1686896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FF"/>
                </a:solidFill>
                <a:latin typeface="+mj-ea"/>
                <a:ea typeface="+mj-ea"/>
              </a:rPr>
              <a:t>先来先服务调度算法</a:t>
            </a:r>
            <a:r>
              <a:rPr lang="en-US" altLang="zh-CN" sz="2400" dirty="0">
                <a:solidFill>
                  <a:srgbClr val="0000FF"/>
                </a:solidFill>
                <a:latin typeface="+mj-ea"/>
                <a:ea typeface="+mj-ea"/>
              </a:rPr>
              <a:t>(FCFS)</a:t>
            </a:r>
          </a:p>
        </p:txBody>
      </p:sp>
      <p:sp>
        <p:nvSpPr>
          <p:cNvPr id="31" name="矩形 30"/>
          <p:cNvSpPr/>
          <p:nvPr/>
        </p:nvSpPr>
        <p:spPr>
          <a:xfrm>
            <a:off x="1754760" y="2744220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FF"/>
                </a:solidFill>
                <a:latin typeface="+mj-ea"/>
              </a:rPr>
              <a:t>短作业优先调度算法</a:t>
            </a:r>
            <a:r>
              <a:rPr lang="en-US" altLang="zh-CN" sz="2400" dirty="0">
                <a:solidFill>
                  <a:srgbClr val="0000FF"/>
                </a:solidFill>
                <a:latin typeface="+mj-ea"/>
              </a:rPr>
              <a:t>(SJF)</a:t>
            </a:r>
          </a:p>
        </p:txBody>
      </p:sp>
      <p:sp>
        <p:nvSpPr>
          <p:cNvPr id="32" name="矩形 31"/>
          <p:cNvSpPr/>
          <p:nvPr/>
        </p:nvSpPr>
        <p:spPr>
          <a:xfrm>
            <a:off x="1754759" y="371480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FF"/>
                </a:solidFill>
                <a:latin typeface="+mj-ea"/>
              </a:rPr>
              <a:t>优先权调度算法</a:t>
            </a:r>
            <a:r>
              <a:rPr lang="en-US" altLang="zh-CN" sz="2400" dirty="0">
                <a:solidFill>
                  <a:srgbClr val="0000FF"/>
                </a:solidFill>
                <a:latin typeface="+mj-ea"/>
              </a:rPr>
              <a:t>(PR)</a:t>
            </a:r>
            <a:endParaRPr lang="en-US" altLang="zh-CN" sz="2400" dirty="0">
              <a:latin typeface="+mj-ea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1754759" y="4772132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latin typeface="+mj-ea"/>
              </a:rPr>
              <a:t>时间片轮转调度算法</a:t>
            </a:r>
            <a:r>
              <a:rPr lang="en-US" altLang="zh-CN" sz="2400" dirty="0">
                <a:latin typeface="+mj-ea"/>
              </a:rPr>
              <a:t>(RR)</a:t>
            </a:r>
          </a:p>
        </p:txBody>
      </p:sp>
      <p:sp>
        <p:nvSpPr>
          <p:cNvPr id="36" name="矩形 35"/>
          <p:cNvSpPr/>
          <p:nvPr/>
        </p:nvSpPr>
        <p:spPr>
          <a:xfrm>
            <a:off x="7339584" y="1715271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latin typeface="+mj-ea"/>
              </a:rPr>
              <a:t>多级队列调度算法</a:t>
            </a:r>
          </a:p>
        </p:txBody>
      </p:sp>
      <p:sp>
        <p:nvSpPr>
          <p:cNvPr id="38" name="矩形 37"/>
          <p:cNvSpPr/>
          <p:nvPr/>
        </p:nvSpPr>
        <p:spPr>
          <a:xfrm>
            <a:off x="7338303" y="2750181"/>
            <a:ext cx="3682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latin typeface="+mj-ea"/>
              </a:rPr>
              <a:t>多级反馈队列调度算法</a:t>
            </a:r>
          </a:p>
        </p:txBody>
      </p:sp>
      <p:sp>
        <p:nvSpPr>
          <p:cNvPr id="39" name="矩形 38"/>
          <p:cNvSpPr/>
          <p:nvPr/>
        </p:nvSpPr>
        <p:spPr>
          <a:xfrm>
            <a:off x="7449431" y="3704535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latin typeface="+mj-ea"/>
              </a:rPr>
              <a:t>基于公平原则的调度算法</a:t>
            </a:r>
          </a:p>
        </p:txBody>
      </p:sp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27709" y="1649886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27709" y="2698565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27709" y="368774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5" name="图片 4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27709" y="47444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6" name="图片 4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812533" y="1685629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7" name="图片 4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811253" y="271249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8" name="图片 4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811253" y="368273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先来先服务（</a:t>
            </a:r>
            <a:r>
              <a:rPr lang="en-US" altLang="zh-CN" sz="2800" b="1" dirty="0">
                <a:solidFill>
                  <a:schemeClr val="bg1"/>
                </a:solidFill>
              </a:rPr>
              <a:t>FCFS</a:t>
            </a:r>
            <a:r>
              <a:rPr lang="zh-CN" altLang="en-US" sz="2800" b="1" dirty="0">
                <a:solidFill>
                  <a:schemeClr val="bg1"/>
                </a:solidFill>
              </a:rPr>
              <a:t>）调度算法</a:t>
            </a:r>
          </a:p>
        </p:txBody>
      </p:sp>
      <p:sp>
        <p:nvSpPr>
          <p:cNvPr id="21" name="iśḷíḑe"/>
          <p:cNvSpPr/>
          <p:nvPr/>
        </p:nvSpPr>
        <p:spPr>
          <a:xfrm>
            <a:off x="778194" y="1722501"/>
            <a:ext cx="774099" cy="774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</a:rPr>
              <a:t>00</a:t>
            </a:r>
            <a:endParaRPr lang="zh-CN" altLang="en-US" sz="2400" b="1" kern="0" dirty="0">
              <a:solidFill>
                <a:prstClr val="white"/>
              </a:solidFill>
            </a:endParaRPr>
          </a:p>
        </p:txBody>
      </p:sp>
      <p:sp>
        <p:nvSpPr>
          <p:cNvPr id="22" name="ïś1ïḑè"/>
          <p:cNvSpPr/>
          <p:nvPr/>
        </p:nvSpPr>
        <p:spPr>
          <a:xfrm>
            <a:off x="5334945" y="1697864"/>
            <a:ext cx="774099" cy="77409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</a:rPr>
              <a:t>00</a:t>
            </a:r>
            <a:endParaRPr lang="zh-CN" altLang="en-US" sz="2400" b="1" kern="0" dirty="0">
              <a:solidFill>
                <a:prstClr val="white"/>
              </a:solidFill>
            </a:endParaRPr>
          </a:p>
        </p:txBody>
      </p:sp>
      <p:sp>
        <p:nvSpPr>
          <p:cNvPr id="31" name="内容占位符 2"/>
          <p:cNvSpPr txBox="1"/>
          <p:nvPr/>
        </p:nvSpPr>
        <p:spPr>
          <a:xfrm>
            <a:off x="1728371" y="1697864"/>
            <a:ext cx="3099659" cy="101029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buNone/>
            </a:pPr>
            <a:r>
              <a:rPr lang="zh-CN" altLang="en-US" sz="2400" dirty="0"/>
              <a:t>按照作业到达的先后次序来进行调度</a:t>
            </a:r>
          </a:p>
        </p:txBody>
      </p:sp>
      <p:sp>
        <p:nvSpPr>
          <p:cNvPr id="32" name="内容占位符 2"/>
          <p:cNvSpPr txBox="1"/>
          <p:nvPr/>
        </p:nvSpPr>
        <p:spPr>
          <a:xfrm>
            <a:off x="6285122" y="1689791"/>
            <a:ext cx="5128684" cy="11208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buNone/>
            </a:pPr>
            <a:r>
              <a:rPr lang="zh-CN" altLang="en-US" sz="2400" dirty="0"/>
              <a:t>假定作业到达顺序如下</a:t>
            </a:r>
            <a:r>
              <a:rPr lang="en-US" altLang="zh-CN" sz="2400" dirty="0"/>
              <a:t>: J1 , J2 , J3  </a:t>
            </a:r>
            <a:r>
              <a:rPr lang="zh-CN" altLang="en-US" sz="2400" dirty="0"/>
              <a:t>该调度的甘特图</a:t>
            </a:r>
            <a:r>
              <a:rPr lang="en-US" altLang="zh-CN" sz="2400" dirty="0"/>
              <a:t>(Gantt)</a:t>
            </a:r>
            <a:r>
              <a:rPr lang="zh-CN" altLang="en-US" sz="2400" dirty="0"/>
              <a:t>为</a:t>
            </a:r>
            <a:r>
              <a:rPr lang="en-US" altLang="zh-CN" sz="2400" dirty="0"/>
              <a:t>:</a:t>
            </a:r>
          </a:p>
        </p:txBody>
      </p:sp>
      <p:sp>
        <p:nvSpPr>
          <p:cNvPr id="33" name="内容占位符 2"/>
          <p:cNvSpPr txBox="1"/>
          <p:nvPr/>
        </p:nvSpPr>
        <p:spPr>
          <a:xfrm>
            <a:off x="778194" y="5394839"/>
            <a:ext cx="5506927" cy="36743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平均等待时间 </a:t>
            </a:r>
            <a:r>
              <a:rPr lang="en-US" altLang="zh-CN" sz="2400" dirty="0"/>
              <a:t>= (0 + 24 + 27)/3 = 17</a:t>
            </a:r>
          </a:p>
        </p:txBody>
      </p:sp>
      <p:sp>
        <p:nvSpPr>
          <p:cNvPr id="37" name="内容占位符 2"/>
          <p:cNvSpPr txBox="1"/>
          <p:nvPr/>
        </p:nvSpPr>
        <p:spPr>
          <a:xfrm>
            <a:off x="6391299" y="5394839"/>
            <a:ext cx="5808772" cy="34343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平均周转时间 </a:t>
            </a:r>
            <a:r>
              <a:rPr lang="en-US" altLang="zh-CN" sz="2400" dirty="0"/>
              <a:t>= (24 + 27 + 30)/3 = 27</a:t>
            </a:r>
          </a:p>
        </p:txBody>
      </p:sp>
      <p:sp>
        <p:nvSpPr>
          <p:cNvPr id="38" name="内容占位符 2"/>
          <p:cNvSpPr txBox="1"/>
          <p:nvPr/>
        </p:nvSpPr>
        <p:spPr>
          <a:xfrm>
            <a:off x="1256246" y="3128104"/>
            <a:ext cx="3773010" cy="1764617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/>
              <a:t> 作业	              运行时间</a:t>
            </a:r>
          </a:p>
          <a:p>
            <a:pPr marL="0" indent="0">
              <a:buNone/>
            </a:pPr>
            <a:r>
              <a:rPr lang="en-US" altLang="zh-CN" sz="2400" dirty="0"/>
              <a:t>   J1		        24</a:t>
            </a:r>
          </a:p>
          <a:p>
            <a:pPr marL="0" indent="0">
              <a:buNone/>
            </a:pPr>
            <a:r>
              <a:rPr lang="en-US" altLang="zh-CN" sz="2400" dirty="0"/>
              <a:t>   J2 		         3</a:t>
            </a:r>
          </a:p>
          <a:p>
            <a:pPr marL="0" indent="0">
              <a:buNone/>
            </a:pPr>
            <a:r>
              <a:rPr lang="en-US" altLang="zh-CN" sz="2400" dirty="0"/>
              <a:t>   J3		         3 </a:t>
            </a:r>
            <a:endParaRPr lang="zh-CN" altLang="en-US" sz="2400" dirty="0"/>
          </a:p>
        </p:txBody>
      </p:sp>
      <p:grpSp>
        <p:nvGrpSpPr>
          <p:cNvPr id="39" name="Group 4"/>
          <p:cNvGrpSpPr/>
          <p:nvPr/>
        </p:nvGrpSpPr>
        <p:grpSpPr bwMode="auto">
          <a:xfrm>
            <a:off x="5710621" y="3166778"/>
            <a:ext cx="5752956" cy="1148749"/>
            <a:chOff x="850" y="2688"/>
            <a:chExt cx="3541" cy="953"/>
          </a:xfrm>
          <a:solidFill>
            <a:srgbClr val="FFFF00"/>
          </a:solidFill>
        </p:grpSpPr>
        <p:sp>
          <p:nvSpPr>
            <p:cNvPr id="40" name="Rectangle 5"/>
            <p:cNvSpPr>
              <a:spLocks noChangeArrowheads="1"/>
            </p:cNvSpPr>
            <p:nvPr/>
          </p:nvSpPr>
          <p:spPr bwMode="auto">
            <a:xfrm>
              <a:off x="960" y="2688"/>
              <a:ext cx="3312" cy="440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latin typeface="Arial" panose="020B0604020202020204" pitchFamily="34" charset="0"/>
              </a:endParaRPr>
            </a:p>
          </p:txBody>
        </p:sp>
        <p:sp>
          <p:nvSpPr>
            <p:cNvPr id="41" name="Text Box 6"/>
            <p:cNvSpPr txBox="1">
              <a:spLocks noChangeArrowheads="1"/>
            </p:cNvSpPr>
            <p:nvPr/>
          </p:nvSpPr>
          <p:spPr bwMode="auto">
            <a:xfrm>
              <a:off x="1764" y="2706"/>
              <a:ext cx="292" cy="409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 dirty="0">
                  <a:latin typeface="Arial" panose="020B0604020202020204" pitchFamily="34" charset="0"/>
                </a:rPr>
                <a:t>J</a:t>
              </a:r>
              <a:r>
                <a:rPr lang="en-US" altLang="zh-CN" sz="2600" baseline="-25000" dirty="0">
                  <a:latin typeface="Arial" panose="020B0604020202020204" pitchFamily="34" charset="0"/>
                </a:rPr>
                <a:t>1</a:t>
              </a:r>
              <a:endParaRPr lang="en-US" altLang="zh-CN" sz="2600" dirty="0">
                <a:latin typeface="Arial" panose="020B0604020202020204" pitchFamily="34" charset="0"/>
              </a:endParaRPr>
            </a:p>
          </p:txBody>
        </p:sp>
        <p:sp>
          <p:nvSpPr>
            <p:cNvPr id="42" name="Text Box 7"/>
            <p:cNvSpPr txBox="1">
              <a:spLocks noChangeArrowheads="1"/>
            </p:cNvSpPr>
            <p:nvPr/>
          </p:nvSpPr>
          <p:spPr bwMode="auto">
            <a:xfrm>
              <a:off x="3252" y="2706"/>
              <a:ext cx="292" cy="409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 dirty="0">
                  <a:latin typeface="Arial" panose="020B0604020202020204" pitchFamily="34" charset="0"/>
                </a:rPr>
                <a:t>J</a:t>
              </a:r>
              <a:r>
                <a:rPr lang="en-US" altLang="zh-CN" sz="2600" baseline="-25000" dirty="0">
                  <a:latin typeface="Arial" panose="020B0604020202020204" pitchFamily="34" charset="0"/>
                </a:rPr>
                <a:t>2</a:t>
              </a:r>
              <a:endParaRPr lang="en-US" altLang="zh-CN" sz="2600" dirty="0">
                <a:latin typeface="Arial" panose="020B0604020202020204" pitchFamily="34" charset="0"/>
              </a:endParaRPr>
            </a:p>
          </p:txBody>
        </p:sp>
        <p:sp>
          <p:nvSpPr>
            <p:cNvPr id="43" name="Text Box 8"/>
            <p:cNvSpPr txBox="1">
              <a:spLocks noChangeArrowheads="1"/>
            </p:cNvSpPr>
            <p:nvPr/>
          </p:nvSpPr>
          <p:spPr bwMode="auto">
            <a:xfrm>
              <a:off x="3828" y="2706"/>
              <a:ext cx="292" cy="409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 dirty="0">
                  <a:latin typeface="Arial" panose="020B0604020202020204" pitchFamily="34" charset="0"/>
                </a:rPr>
                <a:t>J</a:t>
              </a:r>
              <a:r>
                <a:rPr lang="en-US" altLang="zh-CN" sz="2600" baseline="-25000" dirty="0">
                  <a:latin typeface="Arial" panose="020B0604020202020204" pitchFamily="34" charset="0"/>
                </a:rPr>
                <a:t>3</a:t>
              </a:r>
              <a:endParaRPr lang="en-US" altLang="zh-CN" sz="2600" dirty="0">
                <a:latin typeface="Arial" panose="020B0604020202020204" pitchFamily="34" charset="0"/>
              </a:endParaRPr>
            </a:p>
          </p:txBody>
        </p:sp>
        <p:sp>
          <p:nvSpPr>
            <p:cNvPr id="44" name="Line 9"/>
            <p:cNvSpPr>
              <a:spLocks noChangeShapeType="1"/>
            </p:cNvSpPr>
            <p:nvPr/>
          </p:nvSpPr>
          <p:spPr bwMode="auto">
            <a:xfrm>
              <a:off x="960" y="3072"/>
              <a:ext cx="0" cy="144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latin typeface="Arial" panose="020B0604020202020204" pitchFamily="34" charset="0"/>
              </a:endParaRPr>
            </a:p>
          </p:txBody>
        </p:sp>
        <p:sp>
          <p:nvSpPr>
            <p:cNvPr id="45" name="Line 10"/>
            <p:cNvSpPr>
              <a:spLocks noChangeShapeType="1"/>
            </p:cNvSpPr>
            <p:nvPr/>
          </p:nvSpPr>
          <p:spPr bwMode="auto">
            <a:xfrm>
              <a:off x="4272" y="3072"/>
              <a:ext cx="0" cy="217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latin typeface="Arial" panose="020B0604020202020204" pitchFamily="34" charset="0"/>
              </a:endParaRPr>
            </a:p>
          </p:txBody>
        </p:sp>
        <p:sp>
          <p:nvSpPr>
            <p:cNvPr id="46" name="Line 11"/>
            <p:cNvSpPr>
              <a:spLocks noChangeShapeType="1"/>
            </p:cNvSpPr>
            <p:nvPr/>
          </p:nvSpPr>
          <p:spPr bwMode="auto">
            <a:xfrm>
              <a:off x="3072" y="2688"/>
              <a:ext cx="0" cy="384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latin typeface="Arial" panose="020B0604020202020204" pitchFamily="34" charset="0"/>
              </a:endParaRPr>
            </a:p>
          </p:txBody>
        </p:sp>
        <p:sp>
          <p:nvSpPr>
            <p:cNvPr id="47" name="Line 12"/>
            <p:cNvSpPr>
              <a:spLocks noChangeShapeType="1"/>
            </p:cNvSpPr>
            <p:nvPr/>
          </p:nvSpPr>
          <p:spPr bwMode="auto">
            <a:xfrm>
              <a:off x="3648" y="2688"/>
              <a:ext cx="0" cy="384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latin typeface="Arial" panose="020B0604020202020204" pitchFamily="34" charset="0"/>
              </a:endParaRPr>
            </a:p>
          </p:txBody>
        </p:sp>
        <p:sp>
          <p:nvSpPr>
            <p:cNvPr id="48" name="Line 13"/>
            <p:cNvSpPr>
              <a:spLocks noChangeShapeType="1"/>
            </p:cNvSpPr>
            <p:nvPr/>
          </p:nvSpPr>
          <p:spPr bwMode="auto">
            <a:xfrm>
              <a:off x="3072" y="3072"/>
              <a:ext cx="0" cy="186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latin typeface="Arial" panose="020B0604020202020204" pitchFamily="34" charset="0"/>
              </a:endParaRPr>
            </a:p>
          </p:txBody>
        </p:sp>
        <p:sp>
          <p:nvSpPr>
            <p:cNvPr id="49" name="Line 14"/>
            <p:cNvSpPr>
              <a:spLocks noChangeShapeType="1"/>
            </p:cNvSpPr>
            <p:nvPr/>
          </p:nvSpPr>
          <p:spPr bwMode="auto">
            <a:xfrm>
              <a:off x="3648" y="3072"/>
              <a:ext cx="0" cy="217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latin typeface="Arial" panose="020B0604020202020204" pitchFamily="34" charset="0"/>
              </a:endParaRPr>
            </a:p>
          </p:txBody>
        </p:sp>
        <p:sp>
          <p:nvSpPr>
            <p:cNvPr id="50" name="Text Box 15"/>
            <p:cNvSpPr txBox="1">
              <a:spLocks noChangeArrowheads="1"/>
            </p:cNvSpPr>
            <p:nvPr/>
          </p:nvSpPr>
          <p:spPr bwMode="auto">
            <a:xfrm>
              <a:off x="2911" y="3258"/>
              <a:ext cx="325" cy="38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400" dirty="0">
                  <a:latin typeface="Arial" panose="020B0604020202020204" pitchFamily="34" charset="0"/>
                </a:rPr>
                <a:t>24</a:t>
              </a:r>
            </a:p>
          </p:txBody>
        </p:sp>
        <p:sp>
          <p:nvSpPr>
            <p:cNvPr id="51" name="Text Box 16"/>
            <p:cNvSpPr txBox="1">
              <a:spLocks noChangeArrowheads="1"/>
            </p:cNvSpPr>
            <p:nvPr/>
          </p:nvSpPr>
          <p:spPr bwMode="auto">
            <a:xfrm>
              <a:off x="3447" y="3258"/>
              <a:ext cx="325" cy="38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400">
                  <a:latin typeface="Arial" panose="020B0604020202020204" pitchFamily="34" charset="0"/>
                </a:rPr>
                <a:t>27</a:t>
              </a:r>
            </a:p>
          </p:txBody>
        </p:sp>
        <p:sp>
          <p:nvSpPr>
            <p:cNvPr id="52" name="Text Box 17"/>
            <p:cNvSpPr txBox="1">
              <a:spLocks noChangeArrowheads="1"/>
            </p:cNvSpPr>
            <p:nvPr/>
          </p:nvSpPr>
          <p:spPr bwMode="auto">
            <a:xfrm>
              <a:off x="4066" y="3258"/>
              <a:ext cx="325" cy="38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400">
                  <a:latin typeface="Arial" panose="020B0604020202020204" pitchFamily="34" charset="0"/>
                </a:rPr>
                <a:t>30</a:t>
              </a:r>
            </a:p>
          </p:txBody>
        </p:sp>
        <p:sp>
          <p:nvSpPr>
            <p:cNvPr id="53" name="Text Box 18"/>
            <p:cNvSpPr txBox="1">
              <a:spLocks noChangeArrowheads="1"/>
            </p:cNvSpPr>
            <p:nvPr/>
          </p:nvSpPr>
          <p:spPr bwMode="auto">
            <a:xfrm>
              <a:off x="850" y="3217"/>
              <a:ext cx="219" cy="38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400" dirty="0">
                  <a:latin typeface="Arial" panose="020B0604020202020204" pitchFamily="34" charset="0"/>
                </a:rPr>
                <a:t>0</a:t>
              </a:r>
            </a:p>
          </p:txBody>
        </p:sp>
      </p:grp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FCFS</a:t>
            </a:r>
            <a:r>
              <a:rPr lang="zh-CN" altLang="en-US" sz="2800" b="1" dirty="0">
                <a:solidFill>
                  <a:schemeClr val="bg1"/>
                </a:solidFill>
              </a:rPr>
              <a:t>调度算法</a:t>
            </a:r>
          </a:p>
        </p:txBody>
      </p:sp>
      <p:sp>
        <p:nvSpPr>
          <p:cNvPr id="21" name="iśḷíḑe"/>
          <p:cNvSpPr/>
          <p:nvPr/>
        </p:nvSpPr>
        <p:spPr>
          <a:xfrm>
            <a:off x="778194" y="1355064"/>
            <a:ext cx="774099" cy="774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</a:rPr>
              <a:t>01</a:t>
            </a:r>
            <a:endParaRPr lang="zh-CN" altLang="en-US" sz="2400" b="1" kern="0" dirty="0">
              <a:solidFill>
                <a:prstClr val="white"/>
              </a:solidFill>
            </a:endParaRPr>
          </a:p>
        </p:txBody>
      </p:sp>
      <p:sp>
        <p:nvSpPr>
          <p:cNvPr id="22" name="ïś1ïḑè"/>
          <p:cNvSpPr/>
          <p:nvPr/>
        </p:nvSpPr>
        <p:spPr>
          <a:xfrm>
            <a:off x="778194" y="2465023"/>
            <a:ext cx="774099" cy="77409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</a:rPr>
              <a:t>02</a:t>
            </a:r>
            <a:endParaRPr lang="zh-CN" altLang="en-US" sz="2400" b="1" kern="0" dirty="0">
              <a:solidFill>
                <a:prstClr val="white"/>
              </a:solidFill>
            </a:endParaRPr>
          </a:p>
        </p:txBody>
      </p:sp>
      <p:sp>
        <p:nvSpPr>
          <p:cNvPr id="31" name="内容占位符 2"/>
          <p:cNvSpPr txBox="1"/>
          <p:nvPr/>
        </p:nvSpPr>
        <p:spPr>
          <a:xfrm>
            <a:off x="1728371" y="1330427"/>
            <a:ext cx="3099659" cy="101029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buNone/>
            </a:pPr>
            <a:r>
              <a:rPr lang="zh-CN" altLang="en-US" sz="2400" dirty="0"/>
              <a:t>假定进程到达顺序如下  </a:t>
            </a:r>
            <a:r>
              <a:rPr lang="en-US" altLang="zh-CN" sz="2400" dirty="0"/>
              <a:t>J2 , J3 , J1 .</a:t>
            </a:r>
          </a:p>
        </p:txBody>
      </p:sp>
      <p:sp>
        <p:nvSpPr>
          <p:cNvPr id="32" name="内容占位符 2"/>
          <p:cNvSpPr txBox="1"/>
          <p:nvPr/>
        </p:nvSpPr>
        <p:spPr>
          <a:xfrm>
            <a:off x="1728370" y="2556116"/>
            <a:ext cx="5128684" cy="77409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buNone/>
            </a:pPr>
            <a:r>
              <a:rPr lang="zh-CN" altLang="en-US" sz="2400" dirty="0"/>
              <a:t>该调度的</a:t>
            </a:r>
            <a:r>
              <a:rPr lang="en-US" altLang="zh-CN" sz="2400" dirty="0"/>
              <a:t>Gantt</a:t>
            </a:r>
            <a:r>
              <a:rPr lang="zh-CN" altLang="en-US" sz="2400" dirty="0"/>
              <a:t>图为 </a:t>
            </a:r>
            <a:r>
              <a:rPr lang="en-US" altLang="zh-CN" sz="2400" dirty="0"/>
              <a:t>:</a:t>
            </a:r>
          </a:p>
        </p:txBody>
      </p:sp>
      <p:sp>
        <p:nvSpPr>
          <p:cNvPr id="33" name="内容占位符 2"/>
          <p:cNvSpPr txBox="1"/>
          <p:nvPr/>
        </p:nvSpPr>
        <p:spPr>
          <a:xfrm>
            <a:off x="849215" y="5620249"/>
            <a:ext cx="5506927" cy="4494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  平均等待时间 </a:t>
            </a:r>
            <a:r>
              <a:rPr lang="en-US" altLang="zh-CN" sz="2400" dirty="0"/>
              <a:t>= (6 + 0 + 3)/3 = 3</a:t>
            </a:r>
          </a:p>
        </p:txBody>
      </p:sp>
      <p:grpSp>
        <p:nvGrpSpPr>
          <p:cNvPr id="25" name="Group 23"/>
          <p:cNvGrpSpPr/>
          <p:nvPr/>
        </p:nvGrpSpPr>
        <p:grpSpPr bwMode="auto">
          <a:xfrm>
            <a:off x="849215" y="3656007"/>
            <a:ext cx="10635612" cy="1651871"/>
            <a:chOff x="655" y="1968"/>
            <a:chExt cx="3443" cy="713"/>
          </a:xfrm>
          <a:solidFill>
            <a:srgbClr val="FFFF00"/>
          </a:solidFill>
        </p:grpSpPr>
        <p:sp>
          <p:nvSpPr>
            <p:cNvPr id="26" name="Rectangle 6"/>
            <p:cNvSpPr>
              <a:spLocks noChangeArrowheads="1"/>
            </p:cNvSpPr>
            <p:nvPr/>
          </p:nvSpPr>
          <p:spPr bwMode="auto">
            <a:xfrm flipH="1">
              <a:off x="720" y="1968"/>
              <a:ext cx="3312" cy="334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27" name="Text Box 7"/>
            <p:cNvSpPr txBox="1">
              <a:spLocks noChangeArrowheads="1"/>
            </p:cNvSpPr>
            <p:nvPr/>
          </p:nvSpPr>
          <p:spPr bwMode="auto">
            <a:xfrm flipH="1">
              <a:off x="3000" y="2014"/>
              <a:ext cx="170" cy="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 dirty="0">
                  <a:latin typeface="Arial" panose="020B0604020202020204" pitchFamily="34" charset="0"/>
                </a:rPr>
                <a:t>J</a:t>
              </a:r>
              <a:r>
                <a:rPr lang="en-US" altLang="zh-CN" sz="2600" baseline="-25000" dirty="0">
                  <a:latin typeface="Arial" panose="020B0604020202020204" pitchFamily="34" charset="0"/>
                </a:rPr>
                <a:t>1</a:t>
              </a:r>
              <a:endParaRPr lang="en-US" altLang="zh-CN" sz="2600" dirty="0">
                <a:latin typeface="Arial" panose="020B0604020202020204" pitchFamily="34" charset="0"/>
              </a:endParaRPr>
            </a:p>
          </p:txBody>
        </p:sp>
        <p:sp>
          <p:nvSpPr>
            <p:cNvPr id="28" name="Text Box 8"/>
            <p:cNvSpPr txBox="1">
              <a:spLocks noChangeArrowheads="1"/>
            </p:cNvSpPr>
            <p:nvPr/>
          </p:nvSpPr>
          <p:spPr bwMode="auto">
            <a:xfrm flipH="1">
              <a:off x="1512" y="2014"/>
              <a:ext cx="170" cy="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 dirty="0">
                  <a:latin typeface="Arial" panose="020B0604020202020204" pitchFamily="34" charset="0"/>
                </a:rPr>
                <a:t>J</a:t>
              </a:r>
              <a:r>
                <a:rPr lang="en-US" altLang="zh-CN" sz="2600" baseline="-25000" dirty="0">
                  <a:latin typeface="Arial" panose="020B0604020202020204" pitchFamily="34" charset="0"/>
                </a:rPr>
                <a:t>3</a:t>
              </a:r>
              <a:endParaRPr lang="en-US" altLang="zh-CN" sz="2600" dirty="0">
                <a:latin typeface="Arial" panose="020B0604020202020204" pitchFamily="34" charset="0"/>
              </a:endParaRPr>
            </a:p>
          </p:txBody>
        </p:sp>
        <p:sp>
          <p:nvSpPr>
            <p:cNvPr id="29" name="Text Box 9"/>
            <p:cNvSpPr txBox="1">
              <a:spLocks noChangeArrowheads="1"/>
            </p:cNvSpPr>
            <p:nvPr/>
          </p:nvSpPr>
          <p:spPr bwMode="auto">
            <a:xfrm flipH="1">
              <a:off x="936" y="2014"/>
              <a:ext cx="170" cy="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 dirty="0">
                  <a:latin typeface="Arial" panose="020B0604020202020204" pitchFamily="34" charset="0"/>
                </a:rPr>
                <a:t>J</a:t>
              </a:r>
              <a:r>
                <a:rPr lang="en-US" altLang="zh-CN" sz="2600" baseline="-25000" dirty="0">
                  <a:latin typeface="Arial" panose="020B0604020202020204" pitchFamily="34" charset="0"/>
                </a:rPr>
                <a:t>2</a:t>
              </a:r>
              <a:endParaRPr lang="en-US" altLang="zh-CN" sz="2600" dirty="0">
                <a:latin typeface="Arial" panose="020B0604020202020204" pitchFamily="34" charset="0"/>
              </a:endParaRPr>
            </a:p>
          </p:txBody>
        </p:sp>
        <p:sp>
          <p:nvSpPr>
            <p:cNvPr id="30" name="Line 10"/>
            <p:cNvSpPr>
              <a:spLocks noChangeShapeType="1"/>
            </p:cNvSpPr>
            <p:nvPr/>
          </p:nvSpPr>
          <p:spPr bwMode="auto">
            <a:xfrm flipH="1">
              <a:off x="4032" y="2302"/>
              <a:ext cx="0" cy="194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34" name="Line 11"/>
            <p:cNvSpPr>
              <a:spLocks noChangeShapeType="1"/>
            </p:cNvSpPr>
            <p:nvPr/>
          </p:nvSpPr>
          <p:spPr bwMode="auto">
            <a:xfrm flipH="1">
              <a:off x="720" y="2302"/>
              <a:ext cx="0" cy="194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35" name="Line 12"/>
            <p:cNvSpPr>
              <a:spLocks noChangeShapeType="1"/>
            </p:cNvSpPr>
            <p:nvPr/>
          </p:nvSpPr>
          <p:spPr bwMode="auto">
            <a:xfrm flipH="1">
              <a:off x="1920" y="1968"/>
              <a:ext cx="0" cy="384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36" name="Line 13"/>
            <p:cNvSpPr>
              <a:spLocks noChangeShapeType="1"/>
            </p:cNvSpPr>
            <p:nvPr/>
          </p:nvSpPr>
          <p:spPr bwMode="auto">
            <a:xfrm flipH="1">
              <a:off x="1344" y="1968"/>
              <a:ext cx="0" cy="384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54" name="Line 14"/>
            <p:cNvSpPr>
              <a:spLocks noChangeShapeType="1"/>
            </p:cNvSpPr>
            <p:nvPr/>
          </p:nvSpPr>
          <p:spPr bwMode="auto">
            <a:xfrm flipH="1">
              <a:off x="1920" y="2352"/>
              <a:ext cx="0" cy="144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55" name="Line 15"/>
            <p:cNvSpPr>
              <a:spLocks noChangeShapeType="1"/>
            </p:cNvSpPr>
            <p:nvPr/>
          </p:nvSpPr>
          <p:spPr bwMode="auto">
            <a:xfrm flipH="1">
              <a:off x="1344" y="2352"/>
              <a:ext cx="0" cy="144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56" name="Text Box 16"/>
            <p:cNvSpPr txBox="1">
              <a:spLocks noChangeArrowheads="1"/>
            </p:cNvSpPr>
            <p:nvPr/>
          </p:nvSpPr>
          <p:spPr bwMode="auto">
            <a:xfrm flipH="1">
              <a:off x="1859" y="2446"/>
              <a:ext cx="132" cy="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>
                  <a:latin typeface="Arial" panose="020B0604020202020204" pitchFamily="34" charset="0"/>
                </a:rPr>
                <a:t>6</a:t>
              </a:r>
            </a:p>
          </p:txBody>
        </p:sp>
        <p:sp>
          <p:nvSpPr>
            <p:cNvPr id="57" name="Text Box 17"/>
            <p:cNvSpPr txBox="1">
              <a:spLocks noChangeArrowheads="1"/>
            </p:cNvSpPr>
            <p:nvPr/>
          </p:nvSpPr>
          <p:spPr bwMode="auto">
            <a:xfrm flipH="1">
              <a:off x="1283" y="2446"/>
              <a:ext cx="132" cy="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>
                  <a:latin typeface="Arial" panose="020B0604020202020204" pitchFamily="34" charset="0"/>
                </a:rPr>
                <a:t>3</a:t>
              </a:r>
            </a:p>
          </p:txBody>
        </p:sp>
        <p:sp>
          <p:nvSpPr>
            <p:cNvPr id="58" name="Text Box 18"/>
            <p:cNvSpPr txBox="1">
              <a:spLocks noChangeArrowheads="1"/>
            </p:cNvSpPr>
            <p:nvPr/>
          </p:nvSpPr>
          <p:spPr bwMode="auto">
            <a:xfrm flipH="1">
              <a:off x="3899" y="2446"/>
              <a:ext cx="199" cy="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>
                  <a:latin typeface="Arial" panose="020B0604020202020204" pitchFamily="34" charset="0"/>
                </a:rPr>
                <a:t>30</a:t>
              </a:r>
            </a:p>
          </p:txBody>
        </p:sp>
        <p:sp>
          <p:nvSpPr>
            <p:cNvPr id="59" name="Text Box 19"/>
            <p:cNvSpPr txBox="1">
              <a:spLocks noChangeArrowheads="1"/>
            </p:cNvSpPr>
            <p:nvPr/>
          </p:nvSpPr>
          <p:spPr bwMode="auto">
            <a:xfrm flipH="1">
              <a:off x="655" y="2446"/>
              <a:ext cx="132" cy="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>
                  <a:latin typeface="Arial" panose="020B0604020202020204" pitchFamily="34" charset="0"/>
                </a:rPr>
                <a:t>0</a:t>
              </a:r>
            </a:p>
          </p:txBody>
        </p:sp>
      </p:grpSp>
      <p:sp>
        <p:nvSpPr>
          <p:cNvPr id="60" name="iśḷíḑe"/>
          <p:cNvSpPr/>
          <p:nvPr/>
        </p:nvSpPr>
        <p:spPr>
          <a:xfrm>
            <a:off x="6413795" y="1355064"/>
            <a:ext cx="774099" cy="774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</a:rPr>
              <a:t>03</a:t>
            </a:r>
            <a:endParaRPr lang="zh-CN" altLang="en-US" sz="2400" b="1" kern="0" dirty="0">
              <a:solidFill>
                <a:prstClr val="white"/>
              </a:solidFill>
            </a:endParaRPr>
          </a:p>
        </p:txBody>
      </p:sp>
      <p:sp>
        <p:nvSpPr>
          <p:cNvPr id="61" name="ïś1ïḑè"/>
          <p:cNvSpPr/>
          <p:nvPr/>
        </p:nvSpPr>
        <p:spPr>
          <a:xfrm>
            <a:off x="6413795" y="2486646"/>
            <a:ext cx="774099" cy="77409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</a:rPr>
              <a:t>04</a:t>
            </a:r>
            <a:endParaRPr lang="zh-CN" altLang="en-US" sz="2400" b="1" kern="0" dirty="0">
              <a:solidFill>
                <a:prstClr val="white"/>
              </a:solidFill>
            </a:endParaRPr>
          </a:p>
        </p:txBody>
      </p:sp>
      <p:sp>
        <p:nvSpPr>
          <p:cNvPr id="62" name="内容占位符 2"/>
          <p:cNvSpPr txBox="1"/>
          <p:nvPr/>
        </p:nvSpPr>
        <p:spPr>
          <a:xfrm>
            <a:off x="7363972" y="1330427"/>
            <a:ext cx="3099659" cy="101029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buNone/>
            </a:pPr>
            <a:r>
              <a:rPr lang="zh-CN" altLang="en-US" sz="2400" dirty="0"/>
              <a:t>比前例好得多</a:t>
            </a:r>
          </a:p>
        </p:txBody>
      </p:sp>
      <p:sp>
        <p:nvSpPr>
          <p:cNvPr id="63" name="内容占位符 2"/>
          <p:cNvSpPr txBox="1"/>
          <p:nvPr/>
        </p:nvSpPr>
        <p:spPr>
          <a:xfrm>
            <a:off x="7363971" y="2478573"/>
            <a:ext cx="4381177" cy="77409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buNone/>
            </a:pPr>
            <a:r>
              <a:rPr lang="zh-CN" altLang="en-US" sz="2400" dirty="0"/>
              <a:t>此结果产生是由于短进程先于长进程到达</a:t>
            </a:r>
          </a:p>
        </p:txBody>
      </p:sp>
      <p:sp>
        <p:nvSpPr>
          <p:cNvPr id="64" name="内容占位符 2"/>
          <p:cNvSpPr txBox="1"/>
          <p:nvPr/>
        </p:nvSpPr>
        <p:spPr>
          <a:xfrm>
            <a:off x="6165476" y="5620249"/>
            <a:ext cx="5506927" cy="54444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  平均周转时间 </a:t>
            </a:r>
            <a:r>
              <a:rPr lang="en-US" altLang="zh-CN" sz="2400" dirty="0"/>
              <a:t>= (30+ 3 + 6)/3 = 13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短作业优先（</a:t>
            </a:r>
            <a:r>
              <a:rPr lang="en-US" altLang="zh-CN" sz="2800" b="1" dirty="0">
                <a:solidFill>
                  <a:schemeClr val="bg1"/>
                </a:solidFill>
              </a:rPr>
              <a:t>SJF</a:t>
            </a:r>
            <a:r>
              <a:rPr lang="zh-CN" altLang="en-US" sz="2800" b="1" dirty="0">
                <a:solidFill>
                  <a:schemeClr val="bg1"/>
                </a:solidFill>
              </a:rPr>
              <a:t>）调度算法</a:t>
            </a:r>
            <a:r>
              <a:rPr lang="en-US" altLang="zh-CN" sz="2800" b="1" dirty="0">
                <a:solidFill>
                  <a:schemeClr val="bg1"/>
                </a:solidFill>
              </a:rPr>
              <a:t>(1)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37" name="íšḻîḋè"/>
          <p:cNvSpPr/>
          <p:nvPr/>
        </p:nvSpPr>
        <p:spPr>
          <a:xfrm>
            <a:off x="1746844" y="3577516"/>
            <a:ext cx="9326179" cy="93313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solidFill>
                  <a:srgbClr val="FF0000"/>
                </a:solidFill>
              </a:rPr>
              <a:t>非抢占式</a:t>
            </a:r>
            <a:r>
              <a:rPr lang="en-US" altLang="zh-CN" sz="2200" dirty="0">
                <a:solidFill>
                  <a:srgbClr val="FF0000"/>
                </a:solidFill>
              </a:rPr>
              <a:t>SJF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solidFill>
                  <a:srgbClr val="FF0000"/>
                </a:solidFill>
              </a:rPr>
              <a:t>抢占式</a:t>
            </a:r>
            <a:r>
              <a:rPr lang="en-US" altLang="zh-CN" sz="2200" dirty="0">
                <a:solidFill>
                  <a:srgbClr val="FF0000"/>
                </a:solidFill>
              </a:rPr>
              <a:t>SJF</a:t>
            </a:r>
            <a:r>
              <a:rPr lang="en-US" altLang="zh-CN" sz="2200" dirty="0"/>
              <a:t>–</a:t>
            </a:r>
            <a:r>
              <a:rPr lang="zh-CN" altLang="en-US" sz="2200" dirty="0"/>
              <a:t>抢占发生在有比当前进程剩余时间片更短的进程到达时，也称为最短剩余时间优先调度 </a:t>
            </a:r>
          </a:p>
        </p:txBody>
      </p:sp>
      <p:sp>
        <p:nvSpPr>
          <p:cNvPr id="38" name="i$lîďê"/>
          <p:cNvSpPr/>
          <p:nvPr/>
        </p:nvSpPr>
        <p:spPr>
          <a:xfrm>
            <a:off x="1802479" y="3126390"/>
            <a:ext cx="6018748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对进程调度，</a:t>
            </a:r>
            <a:r>
              <a:rPr lang="en-US" altLang="zh-CN" sz="2400" dirty="0"/>
              <a:t>SJF</a:t>
            </a:r>
            <a:r>
              <a:rPr lang="zh-CN" altLang="en-US" sz="2400" dirty="0"/>
              <a:t>有两种模式</a:t>
            </a:r>
            <a:r>
              <a:rPr lang="zh-CN" altLang="zh-CN" sz="2400" dirty="0"/>
              <a:t>：</a:t>
            </a:r>
            <a:endParaRPr lang="zh-CN" altLang="en-US" sz="2400" dirty="0"/>
          </a:p>
        </p:txBody>
      </p:sp>
      <p:sp>
        <p:nvSpPr>
          <p:cNvPr id="40" name="ïṧḷïḋè"/>
          <p:cNvSpPr/>
          <p:nvPr/>
        </p:nvSpPr>
        <p:spPr>
          <a:xfrm>
            <a:off x="1802481" y="5182826"/>
            <a:ext cx="9454404" cy="86137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altLang="zh-CN" sz="2400" dirty="0"/>
              <a:t>SJF</a:t>
            </a:r>
            <a:r>
              <a:rPr lang="zh-CN" altLang="en-US" sz="2400" dirty="0"/>
              <a:t>是最优的（对一组指定的进程而言），它给出了最短的平均等待时间。</a:t>
            </a:r>
            <a:endParaRPr lang="en-US" altLang="zh-CN" sz="2800" dirty="0"/>
          </a:p>
        </p:txBody>
      </p:sp>
      <p:sp>
        <p:nvSpPr>
          <p:cNvPr id="41" name="îs1iďé"/>
          <p:cNvSpPr/>
          <p:nvPr/>
        </p:nvSpPr>
        <p:spPr>
          <a:xfrm>
            <a:off x="1821535" y="1726157"/>
            <a:ext cx="9711234" cy="107919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342900" indent="-342900">
              <a:lnSpc>
                <a:spcPct val="120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对作业：从后备队列中选择若干个估计运行时间最短的作业。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对进程：关联到每个进程下次运行的</a:t>
            </a:r>
            <a:r>
              <a:rPr lang="en-US" altLang="zh-CN" sz="2200" dirty="0"/>
              <a:t>CPU</a:t>
            </a:r>
            <a:r>
              <a:rPr lang="zh-CN" altLang="en-US" sz="2200" dirty="0"/>
              <a:t>区间长度，调度最短的进程。</a:t>
            </a:r>
          </a:p>
        </p:txBody>
      </p:sp>
      <p:sp>
        <p:nvSpPr>
          <p:cNvPr id="42" name="íšḻíḑê"/>
          <p:cNvSpPr/>
          <p:nvPr/>
        </p:nvSpPr>
        <p:spPr>
          <a:xfrm>
            <a:off x="1802480" y="1277156"/>
            <a:ext cx="7297132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altLang="zh-CN" sz="2400" dirty="0"/>
              <a:t>SJF</a:t>
            </a:r>
            <a:r>
              <a:rPr lang="zh-CN" altLang="en-US" sz="2400" dirty="0"/>
              <a:t>算法：既可用于作业，也可用于进程</a:t>
            </a:r>
            <a:endParaRPr lang="en-US" altLang="zh-CN" sz="2400" dirty="0"/>
          </a:p>
        </p:txBody>
      </p:sp>
      <p:sp>
        <p:nvSpPr>
          <p:cNvPr id="43" name="îSļiḓè"/>
          <p:cNvSpPr/>
          <p:nvPr/>
        </p:nvSpPr>
        <p:spPr>
          <a:xfrm>
            <a:off x="1118977" y="1263594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44" name="íṥḻîḓe"/>
          <p:cNvSpPr/>
          <p:nvPr/>
        </p:nvSpPr>
        <p:spPr>
          <a:xfrm>
            <a:off x="1118977" y="5138861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45" name="îşļiḓè"/>
          <p:cNvSpPr/>
          <p:nvPr/>
        </p:nvSpPr>
        <p:spPr>
          <a:xfrm>
            <a:off x="1118977" y="3077380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46" name="îṡḷíďe"/>
          <p:cNvSpPr/>
          <p:nvPr/>
        </p:nvSpPr>
        <p:spPr>
          <a:xfrm>
            <a:off x="1309232" y="1459732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47" name="íSlíḋe"/>
          <p:cNvSpPr/>
          <p:nvPr/>
        </p:nvSpPr>
        <p:spPr>
          <a:xfrm>
            <a:off x="1309231" y="3299397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48" name="ïśḷïḓe"/>
          <p:cNvSpPr/>
          <p:nvPr/>
        </p:nvSpPr>
        <p:spPr>
          <a:xfrm>
            <a:off x="1338170" y="5328321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非抢占式</a:t>
            </a:r>
            <a:r>
              <a:rPr lang="en-US" altLang="zh-CN" sz="2800" b="1" dirty="0">
                <a:solidFill>
                  <a:schemeClr val="bg1"/>
                </a:solidFill>
              </a:rPr>
              <a:t>SJF</a:t>
            </a:r>
            <a:r>
              <a:rPr lang="zh-CN" altLang="en-US" sz="2800" b="1" dirty="0">
                <a:solidFill>
                  <a:schemeClr val="bg1"/>
                </a:solidFill>
              </a:rPr>
              <a:t>举例</a:t>
            </a:r>
          </a:p>
        </p:txBody>
      </p:sp>
      <p:sp>
        <p:nvSpPr>
          <p:cNvPr id="31" name="文本框 30"/>
          <p:cNvSpPr txBox="1"/>
          <p:nvPr/>
        </p:nvSpPr>
        <p:spPr>
          <a:xfrm>
            <a:off x="2489207" y="1285309"/>
            <a:ext cx="6720840" cy="2267544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0" indent="0">
              <a:lnSpc>
                <a:spcPct val="120000"/>
              </a:lnSpc>
              <a:buFont typeface="Wingdings 2" panose="05020102010507070707" pitchFamily="18" charset="2"/>
              <a:buNone/>
              <a:defRPr/>
            </a:pPr>
            <a:r>
              <a:rPr lang="en-US" altLang="zh-CN" sz="2400" dirty="0"/>
              <a:t> </a:t>
            </a:r>
            <a:r>
              <a:rPr lang="zh-CN" altLang="en-US" sz="2400" u="sng" dirty="0"/>
              <a:t>进程</a:t>
            </a:r>
            <a:r>
              <a:rPr lang="zh-CN" altLang="en-US" sz="2400" dirty="0"/>
              <a:t>	</a:t>
            </a:r>
            <a:r>
              <a:rPr lang="en-US" altLang="zh-CN" sz="2400" dirty="0"/>
              <a:t>	</a:t>
            </a:r>
            <a:r>
              <a:rPr lang="zh-CN" altLang="en-US" sz="2400" u="sng" dirty="0"/>
              <a:t>到达时间</a:t>
            </a:r>
            <a:r>
              <a:rPr lang="en-US" altLang="zh-CN" sz="2400" dirty="0"/>
              <a:t>		</a:t>
            </a:r>
            <a:r>
              <a:rPr lang="zh-CN" altLang="en-US" sz="2400" u="sng" dirty="0"/>
              <a:t>运行时间</a:t>
            </a:r>
            <a:endParaRPr lang="en-US" altLang="zh-CN" sz="2400" dirty="0"/>
          </a:p>
          <a:p>
            <a:pPr>
              <a:lnSpc>
                <a:spcPct val="120000"/>
              </a:lnSpc>
              <a:buFont typeface="Monotype Sorts" pitchFamily="2" charset="2"/>
              <a:buNone/>
              <a:tabLst>
                <a:tab pos="1603375" algn="ctr"/>
                <a:tab pos="3254375" algn="ctr"/>
                <a:tab pos="5143500" algn="ctr"/>
              </a:tabLst>
              <a:defRPr/>
            </a:pPr>
            <a:r>
              <a:rPr lang="en-US" altLang="zh-CN" sz="2400" i="1" dirty="0"/>
              <a:t>   J</a:t>
            </a:r>
            <a:r>
              <a:rPr lang="en-US" altLang="zh-CN" sz="2400" i="1" baseline="-25000" dirty="0"/>
              <a:t>1	                         </a:t>
            </a:r>
            <a:r>
              <a:rPr lang="en-US" altLang="zh-CN" sz="2400" dirty="0"/>
              <a:t>0.0	  	 7</a:t>
            </a:r>
          </a:p>
          <a:p>
            <a:pPr>
              <a:lnSpc>
                <a:spcPct val="120000"/>
              </a:lnSpc>
              <a:buFont typeface="Monotype Sorts" pitchFamily="2" charset="2"/>
              <a:buNone/>
              <a:tabLst>
                <a:tab pos="1603375" algn="ctr"/>
                <a:tab pos="3254375" algn="ctr"/>
                <a:tab pos="5143500" algn="ctr"/>
              </a:tabLst>
              <a:defRPr/>
            </a:pPr>
            <a:r>
              <a:rPr lang="en-US" altLang="zh-CN" sz="2400" i="1" dirty="0"/>
              <a:t>   J</a:t>
            </a:r>
            <a:r>
              <a:rPr lang="en-US" altLang="zh-CN" sz="2400" i="1" baseline="-25000" dirty="0"/>
              <a:t>2	                        </a:t>
            </a:r>
            <a:r>
              <a:rPr lang="en-US" altLang="zh-CN" sz="2400" dirty="0"/>
              <a:t>2.0		4</a:t>
            </a:r>
          </a:p>
          <a:p>
            <a:pPr>
              <a:lnSpc>
                <a:spcPct val="120000"/>
              </a:lnSpc>
              <a:buFont typeface="Monotype Sorts" pitchFamily="2" charset="2"/>
              <a:buNone/>
              <a:tabLst>
                <a:tab pos="1603375" algn="ctr"/>
                <a:tab pos="3254375" algn="ctr"/>
                <a:tab pos="5143500" algn="ctr"/>
              </a:tabLst>
              <a:defRPr/>
            </a:pPr>
            <a:r>
              <a:rPr lang="en-US" altLang="zh-CN" sz="2400" i="1" dirty="0"/>
              <a:t>   J</a:t>
            </a:r>
            <a:r>
              <a:rPr lang="en-US" altLang="zh-CN" sz="2400" i="1" baseline="-25000" dirty="0"/>
              <a:t>3</a:t>
            </a:r>
            <a:r>
              <a:rPr lang="en-US" altLang="zh-CN" sz="2400" dirty="0"/>
              <a:t>	                4.0		1</a:t>
            </a:r>
          </a:p>
          <a:p>
            <a:pPr>
              <a:lnSpc>
                <a:spcPct val="120000"/>
              </a:lnSpc>
              <a:buFont typeface="Monotype Sorts" pitchFamily="2" charset="2"/>
              <a:buNone/>
              <a:tabLst>
                <a:tab pos="1603375" algn="ctr"/>
                <a:tab pos="3254375" algn="ctr"/>
                <a:tab pos="5143500" algn="ctr"/>
              </a:tabLst>
              <a:defRPr/>
            </a:pPr>
            <a:r>
              <a:rPr lang="en-US" altLang="zh-CN" sz="2400" i="1" dirty="0"/>
              <a:t>   J</a:t>
            </a:r>
            <a:r>
              <a:rPr lang="en-US" altLang="zh-CN" sz="2400" i="1" baseline="-25000" dirty="0"/>
              <a:t>4</a:t>
            </a:r>
            <a:r>
              <a:rPr lang="en-US" altLang="zh-CN" sz="2400" dirty="0"/>
              <a:t>	                5.0		4</a:t>
            </a:r>
            <a:endParaRPr lang="zh-CN" altLang="en-US" sz="2400" dirty="0"/>
          </a:p>
        </p:txBody>
      </p:sp>
      <p:grpSp>
        <p:nvGrpSpPr>
          <p:cNvPr id="32" name="Group 37"/>
          <p:cNvGrpSpPr/>
          <p:nvPr/>
        </p:nvGrpSpPr>
        <p:grpSpPr bwMode="auto">
          <a:xfrm>
            <a:off x="1333953" y="3804046"/>
            <a:ext cx="9031348" cy="1537733"/>
            <a:chOff x="891" y="2859"/>
            <a:chExt cx="3454" cy="572"/>
          </a:xfrm>
          <a:solidFill>
            <a:srgbClr val="FFFF00"/>
          </a:solidFill>
        </p:grpSpPr>
        <p:sp>
          <p:nvSpPr>
            <p:cNvPr id="34" name="Rectangle 5"/>
            <p:cNvSpPr>
              <a:spLocks noChangeArrowheads="1"/>
            </p:cNvSpPr>
            <p:nvPr/>
          </p:nvSpPr>
          <p:spPr bwMode="auto">
            <a:xfrm flipH="1">
              <a:off x="960" y="2859"/>
              <a:ext cx="3312" cy="270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36" name="Text Box 6"/>
            <p:cNvSpPr txBox="1">
              <a:spLocks noChangeArrowheads="1"/>
            </p:cNvSpPr>
            <p:nvPr/>
          </p:nvSpPr>
          <p:spPr bwMode="auto">
            <a:xfrm flipH="1">
              <a:off x="1435" y="2903"/>
              <a:ext cx="182" cy="18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 dirty="0">
                  <a:latin typeface="Arial" panose="020B0604020202020204" pitchFamily="34" charset="0"/>
                </a:rPr>
                <a:t>J</a:t>
              </a:r>
              <a:r>
                <a:rPr lang="en-US" altLang="zh-CN" sz="2600" baseline="-25000" dirty="0">
                  <a:latin typeface="Arial" panose="020B0604020202020204" pitchFamily="34" charset="0"/>
                </a:rPr>
                <a:t>1</a:t>
              </a:r>
              <a:endParaRPr lang="en-US" altLang="zh-CN" sz="2600" dirty="0">
                <a:latin typeface="Arial" panose="020B0604020202020204" pitchFamily="34" charset="0"/>
              </a:endParaRPr>
            </a:p>
          </p:txBody>
        </p:sp>
        <p:sp>
          <p:nvSpPr>
            <p:cNvPr id="38" name="Text Box 7"/>
            <p:cNvSpPr txBox="1">
              <a:spLocks noChangeArrowheads="1"/>
            </p:cNvSpPr>
            <p:nvPr/>
          </p:nvSpPr>
          <p:spPr bwMode="auto">
            <a:xfrm flipH="1">
              <a:off x="2443" y="2903"/>
              <a:ext cx="182" cy="18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 dirty="0">
                  <a:latin typeface="Arial" panose="020B0604020202020204" pitchFamily="34" charset="0"/>
                </a:rPr>
                <a:t>J</a:t>
              </a:r>
              <a:r>
                <a:rPr lang="en-US" altLang="zh-CN" sz="2600" baseline="-25000" dirty="0">
                  <a:latin typeface="Arial" panose="020B0604020202020204" pitchFamily="34" charset="0"/>
                </a:rPr>
                <a:t>3</a:t>
              </a:r>
              <a:endParaRPr lang="en-US" altLang="zh-CN" sz="2600" dirty="0">
                <a:latin typeface="Arial" panose="020B0604020202020204" pitchFamily="34" charset="0"/>
              </a:endParaRPr>
            </a:p>
          </p:txBody>
        </p:sp>
        <p:sp>
          <p:nvSpPr>
            <p:cNvPr id="39" name="Text Box 8"/>
            <p:cNvSpPr txBox="1">
              <a:spLocks noChangeArrowheads="1"/>
            </p:cNvSpPr>
            <p:nvPr/>
          </p:nvSpPr>
          <p:spPr bwMode="auto">
            <a:xfrm flipH="1">
              <a:off x="3019" y="2903"/>
              <a:ext cx="182" cy="18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 dirty="0">
                  <a:latin typeface="Arial" panose="020B0604020202020204" pitchFamily="34" charset="0"/>
                </a:rPr>
                <a:t>J</a:t>
              </a:r>
              <a:r>
                <a:rPr lang="en-US" altLang="zh-CN" sz="2600" baseline="-25000" dirty="0">
                  <a:latin typeface="Arial" panose="020B0604020202020204" pitchFamily="34" charset="0"/>
                </a:rPr>
                <a:t>2</a:t>
              </a:r>
              <a:endParaRPr lang="en-US" altLang="zh-CN" sz="2600" dirty="0">
                <a:latin typeface="Arial" panose="020B0604020202020204" pitchFamily="34" charset="0"/>
              </a:endParaRPr>
            </a:p>
          </p:txBody>
        </p:sp>
        <p:sp>
          <p:nvSpPr>
            <p:cNvPr id="40" name="Line 9"/>
            <p:cNvSpPr>
              <a:spLocks noChangeShapeType="1"/>
            </p:cNvSpPr>
            <p:nvPr/>
          </p:nvSpPr>
          <p:spPr bwMode="auto">
            <a:xfrm flipH="1">
              <a:off x="4272" y="3129"/>
              <a:ext cx="0" cy="144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42" name="Line 10"/>
            <p:cNvSpPr>
              <a:spLocks noChangeShapeType="1"/>
            </p:cNvSpPr>
            <p:nvPr/>
          </p:nvSpPr>
          <p:spPr bwMode="auto">
            <a:xfrm flipH="1">
              <a:off x="960" y="3129"/>
              <a:ext cx="0" cy="144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44" name="Line 11"/>
            <p:cNvSpPr>
              <a:spLocks noChangeShapeType="1"/>
            </p:cNvSpPr>
            <p:nvPr/>
          </p:nvSpPr>
          <p:spPr bwMode="auto">
            <a:xfrm flipH="1">
              <a:off x="2688" y="2859"/>
              <a:ext cx="0" cy="27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45" name="Line 12"/>
            <p:cNvSpPr>
              <a:spLocks noChangeShapeType="1"/>
            </p:cNvSpPr>
            <p:nvPr/>
          </p:nvSpPr>
          <p:spPr bwMode="auto">
            <a:xfrm flipH="1">
              <a:off x="2400" y="2859"/>
              <a:ext cx="0" cy="27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46" name="Line 13"/>
            <p:cNvSpPr>
              <a:spLocks noChangeShapeType="1"/>
            </p:cNvSpPr>
            <p:nvPr/>
          </p:nvSpPr>
          <p:spPr bwMode="auto">
            <a:xfrm flipH="1">
              <a:off x="2400" y="3129"/>
              <a:ext cx="0" cy="144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47" name="Line 14"/>
            <p:cNvSpPr>
              <a:spLocks noChangeShapeType="1"/>
            </p:cNvSpPr>
            <p:nvPr/>
          </p:nvSpPr>
          <p:spPr bwMode="auto">
            <a:xfrm flipH="1">
              <a:off x="1392" y="3058"/>
              <a:ext cx="0" cy="144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48" name="Text Box 15"/>
            <p:cNvSpPr txBox="1">
              <a:spLocks noChangeArrowheads="1"/>
            </p:cNvSpPr>
            <p:nvPr/>
          </p:nvSpPr>
          <p:spPr bwMode="auto">
            <a:xfrm flipH="1">
              <a:off x="2331" y="3248"/>
              <a:ext cx="142" cy="18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>
                  <a:latin typeface="Arial" panose="020B0604020202020204" pitchFamily="34" charset="0"/>
                </a:rPr>
                <a:t>7</a:t>
              </a:r>
            </a:p>
          </p:txBody>
        </p:sp>
        <p:sp>
          <p:nvSpPr>
            <p:cNvPr id="49" name="Text Box 16"/>
            <p:cNvSpPr txBox="1">
              <a:spLocks noChangeArrowheads="1"/>
            </p:cNvSpPr>
            <p:nvPr/>
          </p:nvSpPr>
          <p:spPr bwMode="auto">
            <a:xfrm flipH="1">
              <a:off x="1519" y="3248"/>
              <a:ext cx="142" cy="18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>
                  <a:latin typeface="Arial" panose="020B0604020202020204" pitchFamily="34" charset="0"/>
                </a:rPr>
                <a:t>3</a:t>
              </a:r>
            </a:p>
          </p:txBody>
        </p:sp>
        <p:sp>
          <p:nvSpPr>
            <p:cNvPr id="50" name="Text Box 17"/>
            <p:cNvSpPr txBox="1">
              <a:spLocks noChangeArrowheads="1"/>
            </p:cNvSpPr>
            <p:nvPr/>
          </p:nvSpPr>
          <p:spPr bwMode="auto">
            <a:xfrm flipH="1">
              <a:off x="4132" y="3248"/>
              <a:ext cx="213" cy="18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>
                  <a:latin typeface="Arial" panose="020B0604020202020204" pitchFamily="34" charset="0"/>
                </a:rPr>
                <a:t>16</a:t>
              </a:r>
            </a:p>
          </p:txBody>
        </p:sp>
        <p:sp>
          <p:nvSpPr>
            <p:cNvPr id="51" name="Text Box 18"/>
            <p:cNvSpPr txBox="1">
              <a:spLocks noChangeArrowheads="1"/>
            </p:cNvSpPr>
            <p:nvPr/>
          </p:nvSpPr>
          <p:spPr bwMode="auto">
            <a:xfrm flipH="1">
              <a:off x="891" y="3248"/>
              <a:ext cx="142" cy="18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>
                  <a:latin typeface="Arial" panose="020B0604020202020204" pitchFamily="34" charset="0"/>
                </a:rPr>
                <a:t>0</a:t>
              </a:r>
            </a:p>
          </p:txBody>
        </p:sp>
        <p:sp>
          <p:nvSpPr>
            <p:cNvPr id="52" name="Text Box 20"/>
            <p:cNvSpPr txBox="1">
              <a:spLocks noChangeArrowheads="1"/>
            </p:cNvSpPr>
            <p:nvPr/>
          </p:nvSpPr>
          <p:spPr bwMode="auto">
            <a:xfrm flipH="1">
              <a:off x="3739" y="2903"/>
              <a:ext cx="182" cy="18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 dirty="0">
                  <a:latin typeface="Arial" panose="020B0604020202020204" pitchFamily="34" charset="0"/>
                </a:rPr>
                <a:t>J</a:t>
              </a:r>
              <a:r>
                <a:rPr lang="en-US" altLang="zh-CN" sz="2600" baseline="-25000" dirty="0">
                  <a:latin typeface="Arial" panose="020B0604020202020204" pitchFamily="34" charset="0"/>
                </a:rPr>
                <a:t>4</a:t>
              </a:r>
              <a:endParaRPr lang="en-US" altLang="zh-CN" sz="2600" dirty="0">
                <a:latin typeface="Arial" panose="020B0604020202020204" pitchFamily="34" charset="0"/>
              </a:endParaRPr>
            </a:p>
          </p:txBody>
        </p:sp>
        <p:sp>
          <p:nvSpPr>
            <p:cNvPr id="53" name="Line 21"/>
            <p:cNvSpPr>
              <a:spLocks noChangeShapeType="1"/>
            </p:cNvSpPr>
            <p:nvPr/>
          </p:nvSpPr>
          <p:spPr bwMode="auto">
            <a:xfrm flipH="1">
              <a:off x="3456" y="2859"/>
              <a:ext cx="0" cy="27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54" name="Line 22"/>
            <p:cNvSpPr>
              <a:spLocks noChangeShapeType="1"/>
            </p:cNvSpPr>
            <p:nvPr/>
          </p:nvSpPr>
          <p:spPr bwMode="auto">
            <a:xfrm flipH="1">
              <a:off x="1152" y="3058"/>
              <a:ext cx="0" cy="144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55" name="Line 23"/>
            <p:cNvSpPr>
              <a:spLocks noChangeShapeType="1"/>
            </p:cNvSpPr>
            <p:nvPr/>
          </p:nvSpPr>
          <p:spPr bwMode="auto">
            <a:xfrm flipH="1">
              <a:off x="1632" y="3058"/>
              <a:ext cx="0" cy="144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56" name="Line 24"/>
            <p:cNvSpPr>
              <a:spLocks noChangeShapeType="1"/>
            </p:cNvSpPr>
            <p:nvPr/>
          </p:nvSpPr>
          <p:spPr bwMode="auto">
            <a:xfrm flipH="1">
              <a:off x="1872" y="3058"/>
              <a:ext cx="0" cy="144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57" name="Line 25"/>
            <p:cNvSpPr>
              <a:spLocks noChangeShapeType="1"/>
            </p:cNvSpPr>
            <p:nvPr/>
          </p:nvSpPr>
          <p:spPr bwMode="auto">
            <a:xfrm flipH="1">
              <a:off x="2064" y="3058"/>
              <a:ext cx="0" cy="144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58" name="Line 26"/>
            <p:cNvSpPr>
              <a:spLocks noChangeShapeType="1"/>
            </p:cNvSpPr>
            <p:nvPr/>
          </p:nvSpPr>
          <p:spPr bwMode="auto">
            <a:xfrm flipH="1">
              <a:off x="2256" y="3058"/>
              <a:ext cx="0" cy="144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59" name="Line 27"/>
            <p:cNvSpPr>
              <a:spLocks noChangeShapeType="1"/>
            </p:cNvSpPr>
            <p:nvPr/>
          </p:nvSpPr>
          <p:spPr bwMode="auto">
            <a:xfrm flipH="1">
              <a:off x="2688" y="3129"/>
              <a:ext cx="0" cy="144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60" name="Text Box 28"/>
            <p:cNvSpPr txBox="1">
              <a:spLocks noChangeArrowheads="1"/>
            </p:cNvSpPr>
            <p:nvPr/>
          </p:nvSpPr>
          <p:spPr bwMode="auto">
            <a:xfrm flipH="1">
              <a:off x="2619" y="3248"/>
              <a:ext cx="142" cy="18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>
                  <a:latin typeface="Arial" panose="020B0604020202020204" pitchFamily="34" charset="0"/>
                </a:rPr>
                <a:t>8</a:t>
              </a:r>
            </a:p>
          </p:txBody>
        </p:sp>
        <p:sp>
          <p:nvSpPr>
            <p:cNvPr id="61" name="Line 29"/>
            <p:cNvSpPr>
              <a:spLocks noChangeShapeType="1"/>
            </p:cNvSpPr>
            <p:nvPr/>
          </p:nvSpPr>
          <p:spPr bwMode="auto">
            <a:xfrm flipH="1">
              <a:off x="2928" y="3058"/>
              <a:ext cx="0" cy="144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62" name="Line 30"/>
            <p:cNvSpPr>
              <a:spLocks noChangeShapeType="1"/>
            </p:cNvSpPr>
            <p:nvPr/>
          </p:nvSpPr>
          <p:spPr bwMode="auto">
            <a:xfrm flipH="1">
              <a:off x="3120" y="3058"/>
              <a:ext cx="0" cy="144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63" name="Line 31"/>
            <p:cNvSpPr>
              <a:spLocks noChangeShapeType="1"/>
            </p:cNvSpPr>
            <p:nvPr/>
          </p:nvSpPr>
          <p:spPr bwMode="auto">
            <a:xfrm flipH="1">
              <a:off x="3312" y="3058"/>
              <a:ext cx="0" cy="144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64" name="Line 32"/>
            <p:cNvSpPr>
              <a:spLocks noChangeShapeType="1"/>
            </p:cNvSpPr>
            <p:nvPr/>
          </p:nvSpPr>
          <p:spPr bwMode="auto">
            <a:xfrm flipH="1">
              <a:off x="3456" y="3129"/>
              <a:ext cx="0" cy="144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65" name="Text Box 33"/>
            <p:cNvSpPr txBox="1">
              <a:spLocks noChangeArrowheads="1"/>
            </p:cNvSpPr>
            <p:nvPr/>
          </p:nvSpPr>
          <p:spPr bwMode="auto">
            <a:xfrm flipH="1">
              <a:off x="3344" y="3248"/>
              <a:ext cx="213" cy="18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>
                  <a:latin typeface="Arial" panose="020B0604020202020204" pitchFamily="34" charset="0"/>
                </a:rPr>
                <a:t>12</a:t>
              </a:r>
            </a:p>
          </p:txBody>
        </p:sp>
        <p:sp>
          <p:nvSpPr>
            <p:cNvPr id="66" name="Line 34"/>
            <p:cNvSpPr>
              <a:spLocks noChangeShapeType="1"/>
            </p:cNvSpPr>
            <p:nvPr/>
          </p:nvSpPr>
          <p:spPr bwMode="auto">
            <a:xfrm flipH="1">
              <a:off x="3696" y="3058"/>
              <a:ext cx="0" cy="144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67" name="Line 35"/>
            <p:cNvSpPr>
              <a:spLocks noChangeShapeType="1"/>
            </p:cNvSpPr>
            <p:nvPr/>
          </p:nvSpPr>
          <p:spPr bwMode="auto">
            <a:xfrm flipH="1">
              <a:off x="3888" y="3058"/>
              <a:ext cx="0" cy="144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68" name="Line 36"/>
            <p:cNvSpPr>
              <a:spLocks noChangeShapeType="1"/>
            </p:cNvSpPr>
            <p:nvPr/>
          </p:nvSpPr>
          <p:spPr bwMode="auto">
            <a:xfrm flipH="1">
              <a:off x="4080" y="3058"/>
              <a:ext cx="0" cy="144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</p:grpSp>
      <p:sp>
        <p:nvSpPr>
          <p:cNvPr id="69" name="内容占位符 2"/>
          <p:cNvSpPr txBox="1"/>
          <p:nvPr/>
        </p:nvSpPr>
        <p:spPr>
          <a:xfrm>
            <a:off x="1004769" y="5642874"/>
            <a:ext cx="5506927" cy="4494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平均等待时间 </a:t>
            </a:r>
            <a:r>
              <a:rPr lang="en-US" altLang="zh-CN" sz="2400" dirty="0"/>
              <a:t>= (0 + 6 + 3 + 7)/4 = 4</a:t>
            </a:r>
          </a:p>
        </p:txBody>
      </p:sp>
      <p:sp>
        <p:nvSpPr>
          <p:cNvPr id="70" name="内容占位符 2"/>
          <p:cNvSpPr txBox="1"/>
          <p:nvPr/>
        </p:nvSpPr>
        <p:spPr>
          <a:xfrm>
            <a:off x="6660200" y="5654445"/>
            <a:ext cx="5506927" cy="4494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平均周转时间</a:t>
            </a:r>
            <a:r>
              <a:rPr lang="en-US" altLang="zh-CN" sz="2400" dirty="0"/>
              <a:t>=(7+10+4+11)/4= 8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抢占式</a:t>
            </a:r>
            <a:r>
              <a:rPr lang="en-US" altLang="zh-CN" sz="2800" b="1" dirty="0">
                <a:solidFill>
                  <a:schemeClr val="bg1"/>
                </a:solidFill>
              </a:rPr>
              <a:t>SJF</a:t>
            </a:r>
            <a:r>
              <a:rPr lang="zh-CN" altLang="en-US" sz="2800" b="1" dirty="0">
                <a:solidFill>
                  <a:schemeClr val="bg1"/>
                </a:solidFill>
              </a:rPr>
              <a:t>举例</a:t>
            </a:r>
          </a:p>
        </p:txBody>
      </p:sp>
      <p:sp>
        <p:nvSpPr>
          <p:cNvPr id="31" name="文本框 30"/>
          <p:cNvSpPr txBox="1"/>
          <p:nvPr/>
        </p:nvSpPr>
        <p:spPr>
          <a:xfrm>
            <a:off x="2489207" y="1285309"/>
            <a:ext cx="6720840" cy="2267544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buClr>
                <a:srgbClr val="FF0000"/>
              </a:buClr>
              <a:defRPr/>
            </a:pPr>
            <a:r>
              <a:rPr lang="zh-CN" altLang="en-US" sz="2400" dirty="0"/>
              <a:t>前例：	</a:t>
            </a:r>
            <a:r>
              <a:rPr lang="zh-CN" altLang="en-US" sz="2400" u="sng" dirty="0"/>
              <a:t>进程</a:t>
            </a:r>
            <a:r>
              <a:rPr lang="zh-CN" altLang="en-US" sz="2400" dirty="0"/>
              <a:t>	</a:t>
            </a:r>
            <a:r>
              <a:rPr lang="zh-CN" altLang="en-US" sz="2400" u="sng" dirty="0"/>
              <a:t>到达时间</a:t>
            </a:r>
            <a:r>
              <a:rPr lang="zh-CN" altLang="en-US" sz="2400" dirty="0"/>
              <a:t>	</a:t>
            </a:r>
            <a:r>
              <a:rPr lang="zh-CN" altLang="en-US" sz="2400" u="sng" dirty="0"/>
              <a:t>区间时间</a:t>
            </a:r>
          </a:p>
          <a:p>
            <a:pPr marL="0" indent="0">
              <a:lnSpc>
                <a:spcPct val="120000"/>
              </a:lnSpc>
              <a:buFont typeface="Wingdings 2" panose="05020102010507070707" pitchFamily="18" charset="2"/>
              <a:buNone/>
              <a:defRPr/>
            </a:pPr>
            <a:r>
              <a:rPr lang="zh-CN" altLang="en-US" sz="2400" dirty="0"/>
              <a:t>		 </a:t>
            </a:r>
            <a:r>
              <a:rPr lang="en-US" altLang="zh-CN" sz="2400" dirty="0"/>
              <a:t>P1	    0		   7</a:t>
            </a:r>
          </a:p>
          <a:p>
            <a:pPr marL="0" indent="0">
              <a:lnSpc>
                <a:spcPct val="120000"/>
              </a:lnSpc>
              <a:buFont typeface="Wingdings 2" panose="05020102010507070707" pitchFamily="18" charset="2"/>
              <a:buNone/>
              <a:defRPr/>
            </a:pPr>
            <a:r>
              <a:rPr lang="en-US" altLang="zh-CN" sz="2400" dirty="0"/>
              <a:t>		 P2	    2		   4</a:t>
            </a:r>
          </a:p>
          <a:p>
            <a:pPr marL="0" indent="0">
              <a:lnSpc>
                <a:spcPct val="120000"/>
              </a:lnSpc>
              <a:buFont typeface="Wingdings 2" panose="05020102010507070707" pitchFamily="18" charset="2"/>
              <a:buNone/>
              <a:defRPr/>
            </a:pPr>
            <a:r>
              <a:rPr lang="en-US" altLang="zh-CN" sz="2400" dirty="0"/>
              <a:t>		 P3	    4		   1</a:t>
            </a:r>
          </a:p>
          <a:p>
            <a:pPr marL="0" indent="0">
              <a:lnSpc>
                <a:spcPct val="120000"/>
              </a:lnSpc>
              <a:buFont typeface="Wingdings 2" panose="05020102010507070707" pitchFamily="18" charset="2"/>
              <a:buNone/>
              <a:defRPr/>
            </a:pPr>
            <a:r>
              <a:rPr lang="en-US" altLang="zh-CN" sz="2400" dirty="0"/>
              <a:t>		 P4	    5		   4</a:t>
            </a:r>
          </a:p>
        </p:txBody>
      </p:sp>
      <p:sp>
        <p:nvSpPr>
          <p:cNvPr id="69" name="内容占位符 2"/>
          <p:cNvSpPr txBox="1"/>
          <p:nvPr/>
        </p:nvSpPr>
        <p:spPr>
          <a:xfrm>
            <a:off x="1004769" y="5642874"/>
            <a:ext cx="5506927" cy="4494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平均等待时间 </a:t>
            </a:r>
            <a:r>
              <a:rPr lang="en-US" altLang="zh-CN" sz="2400" dirty="0"/>
              <a:t>= (9 + 1 + 0 +2)/4 = 3</a:t>
            </a:r>
          </a:p>
        </p:txBody>
      </p:sp>
      <p:sp>
        <p:nvSpPr>
          <p:cNvPr id="70" name="内容占位符 2"/>
          <p:cNvSpPr txBox="1"/>
          <p:nvPr/>
        </p:nvSpPr>
        <p:spPr>
          <a:xfrm>
            <a:off x="6660200" y="5654445"/>
            <a:ext cx="5506927" cy="4494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平均周转时间 </a:t>
            </a:r>
            <a:r>
              <a:rPr lang="en-US" altLang="zh-CN" sz="2400" dirty="0"/>
              <a:t>= (16+ 5 +1+ 6)/4 = 7</a:t>
            </a:r>
          </a:p>
        </p:txBody>
      </p:sp>
      <p:grpSp>
        <p:nvGrpSpPr>
          <p:cNvPr id="41" name="组合 1"/>
          <p:cNvGrpSpPr/>
          <p:nvPr/>
        </p:nvGrpSpPr>
        <p:grpSpPr bwMode="auto">
          <a:xfrm>
            <a:off x="2343404" y="3759675"/>
            <a:ext cx="7345777" cy="1533786"/>
            <a:chOff x="1339943" y="4343400"/>
            <a:chExt cx="5963407" cy="1234588"/>
          </a:xfrm>
        </p:grpSpPr>
        <p:sp>
          <p:nvSpPr>
            <p:cNvPr id="43" name="Rectangle 37"/>
            <p:cNvSpPr>
              <a:spLocks noChangeArrowheads="1"/>
            </p:cNvSpPr>
            <p:nvPr/>
          </p:nvSpPr>
          <p:spPr bwMode="auto">
            <a:xfrm flipH="1">
              <a:off x="1524264" y="4357009"/>
              <a:ext cx="5562978" cy="610489"/>
            </a:xfrm>
            <a:prstGeom prst="rect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defRPr/>
              </a:pPr>
              <a:endParaRPr lang="zh-CN" altLang="en-US" sz="2600"/>
            </a:p>
          </p:txBody>
        </p:sp>
        <p:sp>
          <p:nvSpPr>
            <p:cNvPr id="71" name="Text Box 38"/>
            <p:cNvSpPr txBox="1">
              <a:spLocks noChangeArrowheads="1"/>
            </p:cNvSpPr>
            <p:nvPr/>
          </p:nvSpPr>
          <p:spPr bwMode="auto">
            <a:xfrm flipH="1">
              <a:off x="1595048" y="4404765"/>
              <a:ext cx="431004" cy="3963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/>
                <a:t>P</a:t>
              </a:r>
              <a:r>
                <a:rPr lang="en-US" altLang="zh-CN" sz="2600" baseline="-25000"/>
                <a:t>1</a:t>
              </a:r>
              <a:endParaRPr lang="en-US" altLang="zh-CN" sz="2600"/>
            </a:p>
          </p:txBody>
        </p:sp>
        <p:sp>
          <p:nvSpPr>
            <p:cNvPr id="72" name="Text Box 39"/>
            <p:cNvSpPr txBox="1">
              <a:spLocks noChangeArrowheads="1"/>
            </p:cNvSpPr>
            <p:nvPr/>
          </p:nvSpPr>
          <p:spPr bwMode="auto">
            <a:xfrm flipH="1">
              <a:off x="2890201" y="4404765"/>
              <a:ext cx="431004" cy="3963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/>
                <a:t>P</a:t>
              </a:r>
              <a:r>
                <a:rPr lang="en-US" altLang="zh-CN" sz="2600" baseline="-25000"/>
                <a:t>3</a:t>
              </a:r>
              <a:endParaRPr lang="en-US" altLang="zh-CN" sz="2600"/>
            </a:p>
          </p:txBody>
        </p:sp>
        <p:sp>
          <p:nvSpPr>
            <p:cNvPr id="73" name="Text Box 40"/>
            <p:cNvSpPr txBox="1">
              <a:spLocks noChangeArrowheads="1"/>
            </p:cNvSpPr>
            <p:nvPr/>
          </p:nvSpPr>
          <p:spPr bwMode="auto">
            <a:xfrm flipH="1">
              <a:off x="2356845" y="4404765"/>
              <a:ext cx="431004" cy="3963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/>
                <a:t>P</a:t>
              </a:r>
              <a:r>
                <a:rPr lang="en-US" altLang="zh-CN" sz="2600" baseline="-25000"/>
                <a:t>2</a:t>
              </a:r>
              <a:endParaRPr lang="en-US" altLang="zh-CN" sz="2600"/>
            </a:p>
          </p:txBody>
        </p:sp>
        <p:sp>
          <p:nvSpPr>
            <p:cNvPr id="74" name="Line 41"/>
            <p:cNvSpPr>
              <a:spLocks noChangeShapeType="1"/>
            </p:cNvSpPr>
            <p:nvPr/>
          </p:nvSpPr>
          <p:spPr bwMode="auto">
            <a:xfrm flipH="1">
              <a:off x="7089202" y="4953889"/>
              <a:ext cx="0" cy="22747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/>
            </a:p>
          </p:txBody>
        </p:sp>
        <p:sp>
          <p:nvSpPr>
            <p:cNvPr id="75" name="Line 42"/>
            <p:cNvSpPr>
              <a:spLocks noChangeShapeType="1"/>
            </p:cNvSpPr>
            <p:nvPr/>
          </p:nvSpPr>
          <p:spPr bwMode="auto">
            <a:xfrm flipH="1">
              <a:off x="1524264" y="4967499"/>
              <a:ext cx="0" cy="22747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/>
            </a:p>
          </p:txBody>
        </p:sp>
        <p:sp>
          <p:nvSpPr>
            <p:cNvPr id="76" name="Line 43"/>
            <p:cNvSpPr>
              <a:spLocks noChangeShapeType="1"/>
            </p:cNvSpPr>
            <p:nvPr/>
          </p:nvSpPr>
          <p:spPr bwMode="auto">
            <a:xfrm flipH="1">
              <a:off x="4267517" y="4357009"/>
              <a:ext cx="0" cy="610489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/>
            </a:p>
          </p:txBody>
        </p:sp>
        <p:sp>
          <p:nvSpPr>
            <p:cNvPr id="77" name="Line 44"/>
            <p:cNvSpPr>
              <a:spLocks noChangeShapeType="1"/>
            </p:cNvSpPr>
            <p:nvPr/>
          </p:nvSpPr>
          <p:spPr bwMode="auto">
            <a:xfrm flipH="1">
              <a:off x="2134094" y="4343400"/>
              <a:ext cx="0" cy="91379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/>
            </a:p>
          </p:txBody>
        </p:sp>
        <p:sp>
          <p:nvSpPr>
            <p:cNvPr id="78" name="Line 45"/>
            <p:cNvSpPr>
              <a:spLocks noChangeShapeType="1"/>
            </p:cNvSpPr>
            <p:nvPr/>
          </p:nvSpPr>
          <p:spPr bwMode="auto">
            <a:xfrm flipH="1">
              <a:off x="3820439" y="4856678"/>
              <a:ext cx="0" cy="22942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/>
            </a:p>
          </p:txBody>
        </p:sp>
        <p:sp>
          <p:nvSpPr>
            <p:cNvPr id="79" name="Text Box 47"/>
            <p:cNvSpPr txBox="1">
              <a:spLocks noChangeArrowheads="1"/>
            </p:cNvSpPr>
            <p:nvPr/>
          </p:nvSpPr>
          <p:spPr bwMode="auto">
            <a:xfrm flipH="1">
              <a:off x="2747416" y="5166904"/>
              <a:ext cx="300870" cy="3963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/>
                <a:t>4</a:t>
              </a:r>
            </a:p>
          </p:txBody>
        </p:sp>
        <p:sp>
          <p:nvSpPr>
            <p:cNvPr id="80" name="Text Box 48"/>
            <p:cNvSpPr txBox="1">
              <a:spLocks noChangeArrowheads="1"/>
            </p:cNvSpPr>
            <p:nvPr/>
          </p:nvSpPr>
          <p:spPr bwMode="auto">
            <a:xfrm flipH="1">
              <a:off x="1986600" y="5166904"/>
              <a:ext cx="300870" cy="3963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/>
                <a:t>2</a:t>
              </a:r>
            </a:p>
          </p:txBody>
        </p:sp>
        <p:sp>
          <p:nvSpPr>
            <p:cNvPr id="81" name="Text Box 49"/>
            <p:cNvSpPr txBox="1">
              <a:spLocks noChangeArrowheads="1"/>
            </p:cNvSpPr>
            <p:nvPr/>
          </p:nvSpPr>
          <p:spPr bwMode="auto">
            <a:xfrm flipH="1">
              <a:off x="5261504" y="5156210"/>
              <a:ext cx="431733" cy="3963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/>
                <a:t>11</a:t>
              </a:r>
            </a:p>
          </p:txBody>
        </p:sp>
        <p:sp>
          <p:nvSpPr>
            <p:cNvPr id="82" name="Text Box 50"/>
            <p:cNvSpPr txBox="1">
              <a:spLocks noChangeArrowheads="1"/>
            </p:cNvSpPr>
            <p:nvPr/>
          </p:nvSpPr>
          <p:spPr bwMode="auto">
            <a:xfrm flipH="1">
              <a:off x="1339943" y="5177476"/>
              <a:ext cx="337269" cy="4005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 dirty="0"/>
                <a:t>0</a:t>
              </a:r>
            </a:p>
          </p:txBody>
        </p:sp>
        <p:sp>
          <p:nvSpPr>
            <p:cNvPr id="83" name="Text Box 51"/>
            <p:cNvSpPr txBox="1">
              <a:spLocks noChangeArrowheads="1"/>
            </p:cNvSpPr>
            <p:nvPr/>
          </p:nvSpPr>
          <p:spPr bwMode="auto">
            <a:xfrm flipH="1">
              <a:off x="4718709" y="4404765"/>
              <a:ext cx="431004" cy="3963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/>
                <a:t>P</a:t>
              </a:r>
              <a:r>
                <a:rPr lang="en-US" altLang="zh-CN" sz="2600" baseline="-25000"/>
                <a:t>4</a:t>
              </a:r>
              <a:endParaRPr lang="en-US" altLang="zh-CN" sz="2600"/>
            </a:p>
          </p:txBody>
        </p:sp>
        <p:sp>
          <p:nvSpPr>
            <p:cNvPr id="84" name="Line 52"/>
            <p:cNvSpPr>
              <a:spLocks noChangeShapeType="1"/>
            </p:cNvSpPr>
            <p:nvPr/>
          </p:nvSpPr>
          <p:spPr bwMode="auto">
            <a:xfrm flipH="1">
              <a:off x="5487175" y="4357009"/>
              <a:ext cx="0" cy="610489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/>
            </a:p>
          </p:txBody>
        </p:sp>
        <p:sp>
          <p:nvSpPr>
            <p:cNvPr id="85" name="Line 53"/>
            <p:cNvSpPr>
              <a:spLocks noChangeShapeType="1"/>
            </p:cNvSpPr>
            <p:nvPr/>
          </p:nvSpPr>
          <p:spPr bwMode="auto">
            <a:xfrm flipH="1">
              <a:off x="1828199" y="4854733"/>
              <a:ext cx="0" cy="22747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/>
            </a:p>
          </p:txBody>
        </p:sp>
        <p:sp>
          <p:nvSpPr>
            <p:cNvPr id="86" name="Line 54"/>
            <p:cNvSpPr>
              <a:spLocks noChangeShapeType="1"/>
            </p:cNvSpPr>
            <p:nvPr/>
          </p:nvSpPr>
          <p:spPr bwMode="auto">
            <a:xfrm flipH="1">
              <a:off x="2524306" y="4854733"/>
              <a:ext cx="0" cy="22747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/>
            </a:p>
          </p:txBody>
        </p:sp>
        <p:sp>
          <p:nvSpPr>
            <p:cNvPr id="87" name="Line 58"/>
            <p:cNvSpPr>
              <a:spLocks noChangeShapeType="1"/>
            </p:cNvSpPr>
            <p:nvPr/>
          </p:nvSpPr>
          <p:spPr bwMode="auto">
            <a:xfrm flipH="1">
              <a:off x="4267517" y="4967499"/>
              <a:ext cx="0" cy="22747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/>
            </a:p>
          </p:txBody>
        </p:sp>
        <p:sp>
          <p:nvSpPr>
            <p:cNvPr id="88" name="Text Box 59"/>
            <p:cNvSpPr txBox="1">
              <a:spLocks noChangeArrowheads="1"/>
            </p:cNvSpPr>
            <p:nvPr/>
          </p:nvSpPr>
          <p:spPr bwMode="auto">
            <a:xfrm flipH="1">
              <a:off x="3281753" y="5166904"/>
              <a:ext cx="300870" cy="3963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/>
                <a:t>5</a:t>
              </a:r>
            </a:p>
          </p:txBody>
        </p:sp>
        <p:sp>
          <p:nvSpPr>
            <p:cNvPr id="89" name="Line 60"/>
            <p:cNvSpPr>
              <a:spLocks noChangeShapeType="1"/>
            </p:cNvSpPr>
            <p:nvPr/>
          </p:nvSpPr>
          <p:spPr bwMode="auto">
            <a:xfrm flipH="1">
              <a:off x="4638120" y="4854733"/>
              <a:ext cx="0" cy="22747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/>
            </a:p>
          </p:txBody>
        </p:sp>
        <p:sp>
          <p:nvSpPr>
            <p:cNvPr id="90" name="Line 61"/>
            <p:cNvSpPr>
              <a:spLocks noChangeShapeType="1"/>
            </p:cNvSpPr>
            <p:nvPr/>
          </p:nvSpPr>
          <p:spPr bwMode="auto">
            <a:xfrm flipH="1">
              <a:off x="4953820" y="4854733"/>
              <a:ext cx="0" cy="22747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/>
            </a:p>
          </p:txBody>
        </p:sp>
        <p:sp>
          <p:nvSpPr>
            <p:cNvPr id="91" name="Line 62"/>
            <p:cNvSpPr>
              <a:spLocks noChangeShapeType="1"/>
            </p:cNvSpPr>
            <p:nvPr/>
          </p:nvSpPr>
          <p:spPr bwMode="auto">
            <a:xfrm flipH="1">
              <a:off x="5257753" y="4854733"/>
              <a:ext cx="0" cy="22747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/>
            </a:p>
          </p:txBody>
        </p:sp>
        <p:sp>
          <p:nvSpPr>
            <p:cNvPr id="92" name="Line 63"/>
            <p:cNvSpPr>
              <a:spLocks noChangeShapeType="1"/>
            </p:cNvSpPr>
            <p:nvPr/>
          </p:nvSpPr>
          <p:spPr bwMode="auto">
            <a:xfrm flipH="1">
              <a:off x="5487175" y="4967499"/>
              <a:ext cx="0" cy="22747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/>
            </a:p>
          </p:txBody>
        </p:sp>
        <p:sp>
          <p:nvSpPr>
            <p:cNvPr id="93" name="Text Box 64"/>
            <p:cNvSpPr txBox="1">
              <a:spLocks noChangeArrowheads="1"/>
            </p:cNvSpPr>
            <p:nvPr/>
          </p:nvSpPr>
          <p:spPr bwMode="auto">
            <a:xfrm flipH="1">
              <a:off x="4120022" y="5166904"/>
              <a:ext cx="300870" cy="3963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/>
                <a:t>7</a:t>
              </a:r>
            </a:p>
          </p:txBody>
        </p:sp>
        <p:sp>
          <p:nvSpPr>
            <p:cNvPr id="94" name="Line 65"/>
            <p:cNvSpPr>
              <a:spLocks noChangeShapeType="1"/>
            </p:cNvSpPr>
            <p:nvPr/>
          </p:nvSpPr>
          <p:spPr bwMode="auto">
            <a:xfrm flipH="1">
              <a:off x="5867583" y="4854733"/>
              <a:ext cx="0" cy="22747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/>
            </a:p>
          </p:txBody>
        </p:sp>
        <p:sp>
          <p:nvSpPr>
            <p:cNvPr id="95" name="Line 66"/>
            <p:cNvSpPr>
              <a:spLocks noChangeShapeType="1"/>
            </p:cNvSpPr>
            <p:nvPr/>
          </p:nvSpPr>
          <p:spPr bwMode="auto">
            <a:xfrm flipH="1">
              <a:off x="6171517" y="4854733"/>
              <a:ext cx="0" cy="22747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/>
            </a:p>
          </p:txBody>
        </p:sp>
        <p:sp>
          <p:nvSpPr>
            <p:cNvPr id="96" name="Line 67"/>
            <p:cNvSpPr>
              <a:spLocks noChangeShapeType="1"/>
            </p:cNvSpPr>
            <p:nvPr/>
          </p:nvSpPr>
          <p:spPr bwMode="auto">
            <a:xfrm flipH="1">
              <a:off x="6477412" y="4854733"/>
              <a:ext cx="0" cy="22747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/>
            </a:p>
          </p:txBody>
        </p:sp>
        <p:sp>
          <p:nvSpPr>
            <p:cNvPr id="97" name="Line 68"/>
            <p:cNvSpPr>
              <a:spLocks noChangeShapeType="1"/>
            </p:cNvSpPr>
            <p:nvPr/>
          </p:nvSpPr>
          <p:spPr bwMode="auto">
            <a:xfrm flipH="1">
              <a:off x="2894910" y="4343400"/>
              <a:ext cx="0" cy="91379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/>
            </a:p>
          </p:txBody>
        </p:sp>
        <p:sp>
          <p:nvSpPr>
            <p:cNvPr id="98" name="Line 69"/>
            <p:cNvSpPr>
              <a:spLocks noChangeShapeType="1"/>
            </p:cNvSpPr>
            <p:nvPr/>
          </p:nvSpPr>
          <p:spPr bwMode="auto">
            <a:xfrm flipH="1">
              <a:off x="3428266" y="4343400"/>
              <a:ext cx="0" cy="91379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/>
            </a:p>
          </p:txBody>
        </p:sp>
        <p:sp>
          <p:nvSpPr>
            <p:cNvPr id="99" name="Text Box 70"/>
            <p:cNvSpPr txBox="1">
              <a:spLocks noChangeArrowheads="1"/>
            </p:cNvSpPr>
            <p:nvPr/>
          </p:nvSpPr>
          <p:spPr bwMode="auto">
            <a:xfrm flipH="1">
              <a:off x="3576504" y="4404765"/>
              <a:ext cx="431004" cy="3963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/>
                <a:t>P</a:t>
              </a:r>
              <a:r>
                <a:rPr lang="en-US" altLang="zh-CN" sz="2600" baseline="-25000"/>
                <a:t>2</a:t>
              </a:r>
              <a:endParaRPr lang="en-US" altLang="zh-CN" sz="2600"/>
            </a:p>
          </p:txBody>
        </p:sp>
        <p:sp>
          <p:nvSpPr>
            <p:cNvPr id="100" name="Text Box 71"/>
            <p:cNvSpPr txBox="1">
              <a:spLocks noChangeArrowheads="1"/>
            </p:cNvSpPr>
            <p:nvPr/>
          </p:nvSpPr>
          <p:spPr bwMode="auto">
            <a:xfrm flipH="1">
              <a:off x="6091315" y="4404765"/>
              <a:ext cx="431004" cy="3963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/>
                <a:t>P</a:t>
              </a:r>
              <a:r>
                <a:rPr lang="en-US" altLang="zh-CN" sz="2600" baseline="-25000"/>
                <a:t>1</a:t>
              </a:r>
              <a:endParaRPr lang="en-US" altLang="zh-CN" sz="2600"/>
            </a:p>
          </p:txBody>
        </p:sp>
        <p:sp>
          <p:nvSpPr>
            <p:cNvPr id="101" name="Line 72"/>
            <p:cNvSpPr>
              <a:spLocks noChangeShapeType="1"/>
            </p:cNvSpPr>
            <p:nvPr/>
          </p:nvSpPr>
          <p:spPr bwMode="auto">
            <a:xfrm flipH="1">
              <a:off x="6781347" y="4854733"/>
              <a:ext cx="0" cy="22747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/>
            </a:p>
          </p:txBody>
        </p:sp>
        <p:sp>
          <p:nvSpPr>
            <p:cNvPr id="102" name="Text Box 73"/>
            <p:cNvSpPr txBox="1">
              <a:spLocks noChangeArrowheads="1"/>
            </p:cNvSpPr>
            <p:nvPr/>
          </p:nvSpPr>
          <p:spPr bwMode="auto">
            <a:xfrm flipH="1">
              <a:off x="6851524" y="5156210"/>
              <a:ext cx="451826" cy="3963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 dirty="0"/>
                <a:t>16</a:t>
              </a:r>
            </a:p>
          </p:txBody>
        </p: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253947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第</a:t>
            </a:r>
            <a:r>
              <a:rPr lang="en-US" altLang="zh-CN" sz="2800" b="1" dirty="0">
                <a:solidFill>
                  <a:schemeClr val="bg1"/>
                </a:solidFill>
              </a:rPr>
              <a:t>3</a:t>
            </a:r>
            <a:r>
              <a:rPr lang="zh-CN" altLang="en-US" sz="2800" b="1" dirty="0">
                <a:solidFill>
                  <a:schemeClr val="bg1"/>
                </a:solidFill>
              </a:rPr>
              <a:t>章知识导图</a:t>
            </a:r>
          </a:p>
        </p:txBody>
      </p:sp>
      <p:graphicFrame>
        <p:nvGraphicFramePr>
          <p:cNvPr id="30" name="表格 29"/>
          <p:cNvGraphicFramePr/>
          <p:nvPr>
            <p:custDataLst>
              <p:tags r:id="rId1"/>
            </p:custDataLst>
          </p:nvPr>
        </p:nvGraphicFramePr>
        <p:xfrm>
          <a:off x="462431" y="1634204"/>
          <a:ext cx="4173963" cy="4789452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2210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529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9121">
                <a:tc>
                  <a:txBody>
                    <a:bodyPr/>
                    <a:lstStyle/>
                    <a:p>
                      <a:pPr marL="71755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kern="1200" dirty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第1章</a:t>
                      </a:r>
                      <a:endParaRPr lang="en-US" altLang="en-US" sz="2000" b="0" kern="1200" dirty="0">
                        <a:solidFill>
                          <a:schemeClr val="tx1"/>
                        </a:solidFill>
                        <a:latin typeface="微软雅黑 (正文)"/>
                        <a:ea typeface="+mn-ea"/>
                        <a:cs typeface="+mn-cs"/>
                      </a:endParaRPr>
                    </a:p>
                  </a:txBody>
                  <a:tcPr marL="98738" marR="9873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kern="1200" dirty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000" b="0" kern="1200" dirty="0" err="1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操作系统引论</a:t>
                      </a:r>
                      <a:endParaRPr lang="en-US" altLang="en-US" sz="2000" b="0" kern="1200" dirty="0">
                        <a:solidFill>
                          <a:schemeClr val="tx1"/>
                        </a:solidFill>
                        <a:latin typeface="微软雅黑 (正文)"/>
                        <a:ea typeface="+mn-ea"/>
                        <a:cs typeface="+mn-cs"/>
                      </a:endParaRPr>
                    </a:p>
                  </a:txBody>
                  <a:tcPr marL="98738" marR="98738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2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进程的描述与控制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微软雅黑 (正文)"/>
                        </a:rPr>
                        <a:t>第3章</a:t>
                      </a:r>
                      <a:endParaRPr lang="en-US" altLang="en-US" sz="2000" b="1" dirty="0">
                        <a:solidFill>
                          <a:schemeClr val="bg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1" dirty="0" err="1">
                          <a:solidFill>
                            <a:schemeClr val="bg1"/>
                          </a:solidFill>
                          <a:latin typeface="微软雅黑 (正文)"/>
                        </a:rPr>
                        <a:t>处理机调度与死锁</a:t>
                      </a:r>
                      <a:endParaRPr lang="en-US" altLang="en-US" sz="2000" b="1" dirty="0">
                        <a:solidFill>
                          <a:schemeClr val="bg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4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进程同步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5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存储器管理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6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虚拟存储器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7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输入</a:t>
                      </a:r>
                      <a:r>
                        <a:rPr lang="en-US" sz="2000" dirty="0">
                          <a:latin typeface="微软雅黑 (正文)"/>
                        </a:rPr>
                        <a:t>/</a:t>
                      </a:r>
                      <a:r>
                        <a:rPr lang="en-US" sz="2000" dirty="0" err="1">
                          <a:latin typeface="微软雅黑 (正文)"/>
                        </a:rPr>
                        <a:t>输出系统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8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文件管理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9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磁盘存储器管理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0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多处理机操作系统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1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虚拟化和云计算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2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微软雅黑 (正文)"/>
                        </a:rPr>
                        <a:t>保护和安全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8" name="任意多边形: 形状 7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2" name="图片 1" descr="第3章 知识导图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79950" y="1733550"/>
            <a:ext cx="7340600" cy="4598670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短作业优先（</a:t>
            </a:r>
            <a:r>
              <a:rPr lang="en-US" altLang="zh-CN" sz="2800" b="1" dirty="0">
                <a:solidFill>
                  <a:schemeClr val="bg1"/>
                </a:solidFill>
              </a:rPr>
              <a:t>SJF</a:t>
            </a:r>
            <a:r>
              <a:rPr lang="zh-CN" altLang="en-US" sz="2800" b="1" dirty="0">
                <a:solidFill>
                  <a:schemeClr val="bg1"/>
                </a:solidFill>
              </a:rPr>
              <a:t>）调度算法（</a:t>
            </a:r>
            <a:r>
              <a:rPr lang="en-US" altLang="zh-CN" sz="2800" b="1" dirty="0">
                <a:solidFill>
                  <a:schemeClr val="bg1"/>
                </a:solidFill>
              </a:rPr>
              <a:t>2</a:t>
            </a:r>
            <a:r>
              <a:rPr lang="zh-CN" altLang="en-US" sz="2800" b="1" dirty="0">
                <a:solidFill>
                  <a:schemeClr val="bg1"/>
                </a:solidFill>
              </a:rPr>
              <a:t>）</a:t>
            </a:r>
          </a:p>
        </p:txBody>
      </p:sp>
      <p:sp>
        <p:nvSpPr>
          <p:cNvPr id="42" name="文本框 41"/>
          <p:cNvSpPr txBox="1"/>
          <p:nvPr/>
        </p:nvSpPr>
        <p:spPr>
          <a:xfrm>
            <a:off x="1352002" y="1339489"/>
            <a:ext cx="6720840" cy="18214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600" dirty="0"/>
              <a:t>SJF</a:t>
            </a:r>
            <a:r>
              <a:rPr lang="zh-CN" altLang="en-US" sz="2600" dirty="0"/>
              <a:t>比</a:t>
            </a:r>
            <a:r>
              <a:rPr lang="en-US" altLang="zh-CN" sz="2600" dirty="0"/>
              <a:t>FCFS</a:t>
            </a:r>
            <a:r>
              <a:rPr lang="zh-CN" altLang="en-US" sz="2600" dirty="0"/>
              <a:t>算法有明显改进</a:t>
            </a:r>
            <a:endParaRPr lang="en-US" altLang="zh-CN" sz="2600" dirty="0"/>
          </a:p>
          <a:p>
            <a:pPr>
              <a:lnSpc>
                <a:spcPct val="150000"/>
              </a:lnSpc>
            </a:pPr>
            <a:endParaRPr lang="en-US" altLang="zh-CN" sz="2600" dirty="0"/>
          </a:p>
          <a:p>
            <a:pPr>
              <a:lnSpc>
                <a:spcPct val="150000"/>
              </a:lnSpc>
            </a:pPr>
            <a:r>
              <a:rPr lang="zh-CN" altLang="en-US" sz="2600" b="1" dirty="0">
                <a:solidFill>
                  <a:srgbClr val="FF0000"/>
                </a:solidFill>
              </a:rPr>
              <a:t>缺点：</a:t>
            </a:r>
          </a:p>
        </p:txBody>
      </p:sp>
      <p:sp>
        <p:nvSpPr>
          <p:cNvPr id="44" name="矩形 43"/>
          <p:cNvSpPr/>
          <p:nvPr/>
        </p:nvSpPr>
        <p:spPr>
          <a:xfrm>
            <a:off x="2083633" y="3248552"/>
            <a:ext cx="10112145" cy="128054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latin typeface="+mn-ea"/>
              </a:rPr>
              <a:t>只能估算进程的运行时间（估值不准确），所以通常用于作业调度</a:t>
            </a:r>
          </a:p>
          <a:p>
            <a:pPr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latin typeface="+mn-ea"/>
              </a:rPr>
              <a:t>对长作业不利</a:t>
            </a:r>
          </a:p>
        </p:txBody>
      </p:sp>
      <p:sp>
        <p:nvSpPr>
          <p:cNvPr id="45" name="矩形 44"/>
          <p:cNvSpPr/>
          <p:nvPr/>
        </p:nvSpPr>
        <p:spPr>
          <a:xfrm>
            <a:off x="2083633" y="4555726"/>
            <a:ext cx="8024733" cy="119940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latin typeface="+mn-ea"/>
              </a:rPr>
              <a:t>采用</a:t>
            </a:r>
            <a:r>
              <a:rPr lang="en-US" altLang="zh-CN" sz="2400" dirty="0">
                <a:latin typeface="+mn-ea"/>
              </a:rPr>
              <a:t>SJF</a:t>
            </a:r>
            <a:r>
              <a:rPr lang="zh-CN" altLang="en-US" sz="2400" dirty="0">
                <a:latin typeface="+mn-ea"/>
              </a:rPr>
              <a:t>算法时，人</a:t>
            </a:r>
            <a:r>
              <a:rPr lang="en-US" altLang="zh-CN" sz="2400" dirty="0">
                <a:latin typeface="+mn-ea"/>
              </a:rPr>
              <a:t>-</a:t>
            </a:r>
            <a:r>
              <a:rPr lang="zh-CN" altLang="en-US" sz="2400" dirty="0">
                <a:latin typeface="+mn-ea"/>
              </a:rPr>
              <a:t>机无法实现交互</a:t>
            </a:r>
          </a:p>
          <a:p>
            <a:pPr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latin typeface="+mn-ea"/>
              </a:rPr>
              <a:t>完全未考虑作业的紧迫程度</a:t>
            </a:r>
          </a:p>
        </p:txBody>
      </p:sp>
      <p:pic>
        <p:nvPicPr>
          <p:cNvPr id="46" name="图片 4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52002" y="4557354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7" name="图片 4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52002" y="5230332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8" name="图片 4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52002" y="3257434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9" name="图片 4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52002" y="390658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优先级调度算法</a:t>
            </a:r>
            <a:r>
              <a:rPr lang="en-US" altLang="zh-CN" sz="2800" b="1" dirty="0">
                <a:solidFill>
                  <a:schemeClr val="bg1"/>
                </a:solidFill>
              </a:rPr>
              <a:t>PR</a:t>
            </a:r>
            <a:r>
              <a:rPr lang="zh-CN" altLang="en-US" sz="2800" b="1" dirty="0">
                <a:solidFill>
                  <a:schemeClr val="bg1"/>
                </a:solidFill>
              </a:rPr>
              <a:t>（</a:t>
            </a:r>
            <a:r>
              <a:rPr lang="en-US" altLang="zh-CN" sz="2800" b="1" dirty="0">
                <a:solidFill>
                  <a:schemeClr val="bg1"/>
                </a:solidFill>
              </a:rPr>
              <a:t>1</a:t>
            </a:r>
            <a:r>
              <a:rPr lang="zh-CN" altLang="en-US" sz="2800" b="1" dirty="0">
                <a:solidFill>
                  <a:schemeClr val="bg1"/>
                </a:solidFill>
              </a:rPr>
              <a:t>）</a:t>
            </a:r>
          </a:p>
        </p:txBody>
      </p:sp>
      <p:sp>
        <p:nvSpPr>
          <p:cNvPr id="10" name="íšḻîḋè"/>
          <p:cNvSpPr/>
          <p:nvPr/>
        </p:nvSpPr>
        <p:spPr>
          <a:xfrm>
            <a:off x="1737966" y="3318826"/>
            <a:ext cx="9326179" cy="93313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每个进程都有一个优先数，优先数为整数。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默认：小的优先数具有高优先级。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目前主流的操作系统调度算法。</a:t>
            </a:r>
          </a:p>
        </p:txBody>
      </p:sp>
      <p:sp>
        <p:nvSpPr>
          <p:cNvPr id="11" name="i$lîďê"/>
          <p:cNvSpPr/>
          <p:nvPr/>
        </p:nvSpPr>
        <p:spPr>
          <a:xfrm>
            <a:off x="1793602" y="2468737"/>
            <a:ext cx="9631960" cy="77161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基于作业</a:t>
            </a:r>
            <a:r>
              <a:rPr lang="en-US" altLang="zh-CN" sz="2400" dirty="0"/>
              <a:t>/</a:t>
            </a:r>
            <a:r>
              <a:rPr lang="zh-CN" altLang="en-US" sz="2400" dirty="0"/>
              <a:t>进程的紧迫程度，由外部赋予作业相应的优先级，调度算法根据优先级进行调度。</a:t>
            </a:r>
          </a:p>
        </p:txBody>
      </p:sp>
      <p:sp>
        <p:nvSpPr>
          <p:cNvPr id="12" name="ïṧḷïḋè"/>
          <p:cNvSpPr/>
          <p:nvPr/>
        </p:nvSpPr>
        <p:spPr>
          <a:xfrm>
            <a:off x="1793602" y="4821281"/>
            <a:ext cx="9454404" cy="62786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FF0000"/>
                </a:solidFill>
              </a:rPr>
              <a:t>高响应比优先调度算法是一种优先级调度算法</a:t>
            </a:r>
            <a:r>
              <a:rPr lang="zh-CN" altLang="en-US" sz="2400" dirty="0"/>
              <a:t>，用于作业调度。	</a:t>
            </a:r>
          </a:p>
        </p:txBody>
      </p:sp>
      <p:sp>
        <p:nvSpPr>
          <p:cNvPr id="14" name="íšḻíḑê"/>
          <p:cNvSpPr/>
          <p:nvPr/>
        </p:nvSpPr>
        <p:spPr>
          <a:xfrm>
            <a:off x="1793602" y="1543328"/>
            <a:ext cx="7297132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既可用于作业调度，也可用于进程调度。</a:t>
            </a:r>
          </a:p>
        </p:txBody>
      </p:sp>
      <p:sp>
        <p:nvSpPr>
          <p:cNvPr id="15" name="îSļiḓè"/>
          <p:cNvSpPr/>
          <p:nvPr/>
        </p:nvSpPr>
        <p:spPr>
          <a:xfrm>
            <a:off x="1110099" y="1432269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6" name="íṥḻîḓe"/>
          <p:cNvSpPr/>
          <p:nvPr/>
        </p:nvSpPr>
        <p:spPr>
          <a:xfrm>
            <a:off x="1110098" y="477731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7" name="îşļiḓè"/>
          <p:cNvSpPr/>
          <p:nvPr/>
        </p:nvSpPr>
        <p:spPr>
          <a:xfrm>
            <a:off x="1110100" y="2419727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8" name="îṡḷíďe"/>
          <p:cNvSpPr/>
          <p:nvPr/>
        </p:nvSpPr>
        <p:spPr>
          <a:xfrm>
            <a:off x="1300354" y="1628407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9" name="íSlíḋe"/>
          <p:cNvSpPr/>
          <p:nvPr/>
        </p:nvSpPr>
        <p:spPr>
          <a:xfrm>
            <a:off x="1300354" y="2641744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1" name="ïśḷïḓe"/>
          <p:cNvSpPr/>
          <p:nvPr/>
        </p:nvSpPr>
        <p:spPr>
          <a:xfrm>
            <a:off x="1329291" y="496677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进程优先级调度算法</a:t>
            </a:r>
          </a:p>
        </p:txBody>
      </p:sp>
      <p:sp>
        <p:nvSpPr>
          <p:cNvPr id="6" name="íSľïdé"/>
          <p:cNvSpPr/>
          <p:nvPr/>
        </p:nvSpPr>
        <p:spPr>
          <a:xfrm>
            <a:off x="983648" y="1267882"/>
            <a:ext cx="567702" cy="511936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200" kern="1200"/>
          </a:p>
        </p:txBody>
      </p:sp>
      <p:sp>
        <p:nvSpPr>
          <p:cNvPr id="7" name="ïŝļíḓê"/>
          <p:cNvSpPr/>
          <p:nvPr/>
        </p:nvSpPr>
        <p:spPr bwMode="auto">
          <a:xfrm>
            <a:off x="983648" y="3144914"/>
            <a:ext cx="556774" cy="553604"/>
          </a:xfrm>
          <a:custGeom>
            <a:avLst/>
            <a:gdLst>
              <a:gd name="T0" fmla="*/ 3682 w 4808"/>
              <a:gd name="T1" fmla="*/ 2763 h 4789"/>
              <a:gd name="T2" fmla="*/ 3420 w 4808"/>
              <a:gd name="T3" fmla="*/ 2703 h 4789"/>
              <a:gd name="T4" fmla="*/ 3026 w 4808"/>
              <a:gd name="T5" fmla="*/ 2392 h 4789"/>
              <a:gd name="T6" fmla="*/ 2818 w 4808"/>
              <a:gd name="T7" fmla="*/ 2517 h 4789"/>
              <a:gd name="T8" fmla="*/ 3219 w 4808"/>
              <a:gd name="T9" fmla="*/ 1876 h 4789"/>
              <a:gd name="T10" fmla="*/ 3609 w 4808"/>
              <a:gd name="T11" fmla="*/ 1953 h 4789"/>
              <a:gd name="T12" fmla="*/ 4553 w 4808"/>
              <a:gd name="T13" fmla="*/ 720 h 4789"/>
              <a:gd name="T14" fmla="*/ 4388 w 4808"/>
              <a:gd name="T15" fmla="*/ 680 h 4789"/>
              <a:gd name="T16" fmla="*/ 3872 w 4808"/>
              <a:gd name="T17" fmla="*/ 1161 h 4789"/>
              <a:gd name="T18" fmla="*/ 3859 w 4808"/>
              <a:gd name="T19" fmla="*/ 1160 h 4789"/>
              <a:gd name="T20" fmla="*/ 3491 w 4808"/>
              <a:gd name="T21" fmla="*/ 1099 h 4789"/>
              <a:gd name="T22" fmla="*/ 3432 w 4808"/>
              <a:gd name="T23" fmla="*/ 731 h 4789"/>
              <a:gd name="T24" fmla="*/ 3454 w 4808"/>
              <a:gd name="T25" fmla="*/ 658 h 4789"/>
              <a:gd name="T26" fmla="*/ 3938 w 4808"/>
              <a:gd name="T27" fmla="*/ 104 h 4789"/>
              <a:gd name="T28" fmla="*/ 3609 w 4808"/>
              <a:gd name="T29" fmla="*/ 0 h 4789"/>
              <a:gd name="T30" fmla="*/ 2710 w 4808"/>
              <a:gd name="T31" fmla="*/ 1369 h 4789"/>
              <a:gd name="T32" fmla="*/ 1300 w 4808"/>
              <a:gd name="T33" fmla="*/ 999 h 4789"/>
              <a:gd name="T34" fmla="*/ 1309 w 4808"/>
              <a:gd name="T35" fmla="*/ 892 h 4789"/>
              <a:gd name="T36" fmla="*/ 865 w 4808"/>
              <a:gd name="T37" fmla="*/ 294 h 4789"/>
              <a:gd name="T38" fmla="*/ 665 w 4808"/>
              <a:gd name="T39" fmla="*/ 298 h 4789"/>
              <a:gd name="T40" fmla="*/ 278 w 4808"/>
              <a:gd name="T41" fmla="*/ 787 h 4789"/>
              <a:gd name="T42" fmla="*/ 630 w 4808"/>
              <a:gd name="T43" fmla="*/ 1163 h 4789"/>
              <a:gd name="T44" fmla="*/ 926 w 4808"/>
              <a:gd name="T45" fmla="*/ 1291 h 4789"/>
              <a:gd name="T46" fmla="*/ 1018 w 4808"/>
              <a:gd name="T47" fmla="*/ 1282 h 4789"/>
              <a:gd name="T48" fmla="*/ 1485 w 4808"/>
              <a:gd name="T49" fmla="*/ 2594 h 4789"/>
              <a:gd name="T50" fmla="*/ 1037 w 4808"/>
              <a:gd name="T51" fmla="*/ 2572 h 4789"/>
              <a:gd name="T52" fmla="*/ 92 w 4808"/>
              <a:gd name="T53" fmla="*/ 3809 h 4789"/>
              <a:gd name="T54" fmla="*/ 186 w 4808"/>
              <a:gd name="T55" fmla="*/ 3882 h 4789"/>
              <a:gd name="T56" fmla="*/ 727 w 4808"/>
              <a:gd name="T57" fmla="*/ 3384 h 4789"/>
              <a:gd name="T58" fmla="*/ 789 w 4808"/>
              <a:gd name="T59" fmla="*/ 3371 h 4789"/>
              <a:gd name="T60" fmla="*/ 796 w 4808"/>
              <a:gd name="T61" fmla="*/ 3372 h 4789"/>
              <a:gd name="T62" fmla="*/ 1218 w 4808"/>
              <a:gd name="T63" fmla="*/ 3798 h 4789"/>
              <a:gd name="T64" fmla="*/ 1192 w 4808"/>
              <a:gd name="T65" fmla="*/ 3873 h 4789"/>
              <a:gd name="T66" fmla="*/ 707 w 4808"/>
              <a:gd name="T67" fmla="*/ 4427 h 4789"/>
              <a:gd name="T68" fmla="*/ 1037 w 4808"/>
              <a:gd name="T69" fmla="*/ 4531 h 4789"/>
              <a:gd name="T70" fmla="*/ 2016 w 4808"/>
              <a:gd name="T71" fmla="*/ 3551 h 4789"/>
              <a:gd name="T72" fmla="*/ 1994 w 4808"/>
              <a:gd name="T73" fmla="*/ 3103 h 4789"/>
              <a:gd name="T74" fmla="*/ 2535 w 4808"/>
              <a:gd name="T75" fmla="*/ 2799 h 4789"/>
              <a:gd name="T76" fmla="*/ 2410 w 4808"/>
              <a:gd name="T77" fmla="*/ 3007 h 4789"/>
              <a:gd name="T78" fmla="*/ 2721 w 4808"/>
              <a:gd name="T79" fmla="*/ 3401 h 4789"/>
              <a:gd name="T80" fmla="*/ 2781 w 4808"/>
              <a:gd name="T81" fmla="*/ 3663 h 4789"/>
              <a:gd name="T82" fmla="*/ 4013 w 4808"/>
              <a:gd name="T83" fmla="*/ 4789 h 4789"/>
              <a:gd name="T84" fmla="*/ 4734 w 4808"/>
              <a:gd name="T85" fmla="*/ 4173 h 4789"/>
              <a:gd name="T86" fmla="*/ 4734 w 4808"/>
              <a:gd name="T87" fmla="*/ 3815 h 4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808" h="4789">
                <a:moveTo>
                  <a:pt x="4734" y="3815"/>
                </a:moveTo>
                <a:lnTo>
                  <a:pt x="3682" y="2763"/>
                </a:lnTo>
                <a:cubicBezTo>
                  <a:pt x="3634" y="2715"/>
                  <a:pt x="3570" y="2689"/>
                  <a:pt x="3502" y="2689"/>
                </a:cubicBezTo>
                <a:cubicBezTo>
                  <a:pt x="3474" y="2689"/>
                  <a:pt x="3446" y="2694"/>
                  <a:pt x="3420" y="2703"/>
                </a:cubicBezTo>
                <a:lnTo>
                  <a:pt x="3167" y="2450"/>
                </a:lnTo>
                <a:cubicBezTo>
                  <a:pt x="3130" y="2413"/>
                  <a:pt x="3079" y="2392"/>
                  <a:pt x="3026" y="2392"/>
                </a:cubicBezTo>
                <a:cubicBezTo>
                  <a:pt x="2972" y="2392"/>
                  <a:pt x="2922" y="2413"/>
                  <a:pt x="2884" y="2450"/>
                </a:cubicBezTo>
                <a:lnTo>
                  <a:pt x="2818" y="2517"/>
                </a:lnTo>
                <a:lnTo>
                  <a:pt x="2699" y="2398"/>
                </a:lnTo>
                <a:lnTo>
                  <a:pt x="3219" y="1876"/>
                </a:lnTo>
                <a:cubicBezTo>
                  <a:pt x="3340" y="1928"/>
                  <a:pt x="3472" y="1953"/>
                  <a:pt x="3609" y="1953"/>
                </a:cubicBezTo>
                <a:lnTo>
                  <a:pt x="3609" y="1953"/>
                </a:lnTo>
                <a:cubicBezTo>
                  <a:pt x="3870" y="1953"/>
                  <a:pt x="4116" y="1854"/>
                  <a:pt x="4301" y="1669"/>
                </a:cubicBezTo>
                <a:cubicBezTo>
                  <a:pt x="4549" y="1421"/>
                  <a:pt x="4646" y="1059"/>
                  <a:pt x="4553" y="720"/>
                </a:cubicBezTo>
                <a:cubicBezTo>
                  <a:pt x="4542" y="678"/>
                  <a:pt x="4502" y="648"/>
                  <a:pt x="4459" y="648"/>
                </a:cubicBezTo>
                <a:cubicBezTo>
                  <a:pt x="4441" y="648"/>
                  <a:pt x="4413" y="654"/>
                  <a:pt x="4388" y="680"/>
                </a:cubicBezTo>
                <a:cubicBezTo>
                  <a:pt x="4384" y="683"/>
                  <a:pt x="4034" y="1030"/>
                  <a:pt x="3918" y="1146"/>
                </a:cubicBezTo>
                <a:cubicBezTo>
                  <a:pt x="3906" y="1159"/>
                  <a:pt x="3885" y="1161"/>
                  <a:pt x="3872" y="1161"/>
                </a:cubicBezTo>
                <a:cubicBezTo>
                  <a:pt x="3864" y="1161"/>
                  <a:pt x="3859" y="1160"/>
                  <a:pt x="3859" y="1160"/>
                </a:cubicBezTo>
                <a:lnTo>
                  <a:pt x="3859" y="1160"/>
                </a:lnTo>
                <a:lnTo>
                  <a:pt x="3851" y="1159"/>
                </a:lnTo>
                <a:cubicBezTo>
                  <a:pt x="3707" y="1146"/>
                  <a:pt x="3535" y="1119"/>
                  <a:pt x="3491" y="1099"/>
                </a:cubicBezTo>
                <a:cubicBezTo>
                  <a:pt x="3470" y="1055"/>
                  <a:pt x="3445" y="879"/>
                  <a:pt x="3432" y="733"/>
                </a:cubicBezTo>
                <a:lnTo>
                  <a:pt x="3432" y="731"/>
                </a:lnTo>
                <a:lnTo>
                  <a:pt x="3429" y="727"/>
                </a:lnTo>
                <a:cubicBezTo>
                  <a:pt x="3428" y="720"/>
                  <a:pt x="3425" y="687"/>
                  <a:pt x="3454" y="658"/>
                </a:cubicBezTo>
                <a:cubicBezTo>
                  <a:pt x="3574" y="538"/>
                  <a:pt x="3905" y="204"/>
                  <a:pt x="3908" y="201"/>
                </a:cubicBezTo>
                <a:cubicBezTo>
                  <a:pt x="3936" y="173"/>
                  <a:pt x="3947" y="138"/>
                  <a:pt x="3938" y="104"/>
                </a:cubicBezTo>
                <a:cubicBezTo>
                  <a:pt x="3927" y="64"/>
                  <a:pt x="3893" y="42"/>
                  <a:pt x="3865" y="34"/>
                </a:cubicBezTo>
                <a:cubicBezTo>
                  <a:pt x="3782" y="11"/>
                  <a:pt x="3695" y="0"/>
                  <a:pt x="3609" y="0"/>
                </a:cubicBezTo>
                <a:cubicBezTo>
                  <a:pt x="3347" y="0"/>
                  <a:pt x="3101" y="102"/>
                  <a:pt x="2916" y="287"/>
                </a:cubicBezTo>
                <a:cubicBezTo>
                  <a:pt x="2624" y="579"/>
                  <a:pt x="2555" y="1011"/>
                  <a:pt x="2710" y="1369"/>
                </a:cubicBezTo>
                <a:lnTo>
                  <a:pt x="2190" y="1889"/>
                </a:lnTo>
                <a:lnTo>
                  <a:pt x="1300" y="999"/>
                </a:lnTo>
                <a:cubicBezTo>
                  <a:pt x="1300" y="998"/>
                  <a:pt x="1299" y="998"/>
                  <a:pt x="1299" y="997"/>
                </a:cubicBezTo>
                <a:cubicBezTo>
                  <a:pt x="1307" y="963"/>
                  <a:pt x="1311" y="928"/>
                  <a:pt x="1309" y="892"/>
                </a:cubicBezTo>
                <a:cubicBezTo>
                  <a:pt x="1305" y="788"/>
                  <a:pt x="1260" y="689"/>
                  <a:pt x="1182" y="611"/>
                </a:cubicBezTo>
                <a:lnTo>
                  <a:pt x="865" y="294"/>
                </a:lnTo>
                <a:cubicBezTo>
                  <a:pt x="858" y="288"/>
                  <a:pt x="821" y="253"/>
                  <a:pt x="766" y="253"/>
                </a:cubicBezTo>
                <a:cubicBezTo>
                  <a:pt x="740" y="253"/>
                  <a:pt x="702" y="261"/>
                  <a:pt x="665" y="298"/>
                </a:cubicBezTo>
                <a:lnTo>
                  <a:pt x="318" y="645"/>
                </a:lnTo>
                <a:cubicBezTo>
                  <a:pt x="277" y="685"/>
                  <a:pt x="263" y="737"/>
                  <a:pt x="278" y="787"/>
                </a:cubicBezTo>
                <a:cubicBezTo>
                  <a:pt x="288" y="820"/>
                  <a:pt x="308" y="842"/>
                  <a:pt x="314" y="848"/>
                </a:cubicBezTo>
                <a:lnTo>
                  <a:pt x="630" y="1163"/>
                </a:lnTo>
                <a:cubicBezTo>
                  <a:pt x="712" y="1246"/>
                  <a:pt x="817" y="1291"/>
                  <a:pt x="926" y="1291"/>
                </a:cubicBezTo>
                <a:lnTo>
                  <a:pt x="926" y="1291"/>
                </a:lnTo>
                <a:cubicBezTo>
                  <a:pt x="957" y="1291"/>
                  <a:pt x="987" y="1287"/>
                  <a:pt x="1016" y="1280"/>
                </a:cubicBezTo>
                <a:cubicBezTo>
                  <a:pt x="1017" y="1281"/>
                  <a:pt x="1017" y="1281"/>
                  <a:pt x="1018" y="1282"/>
                </a:cubicBezTo>
                <a:lnTo>
                  <a:pt x="1907" y="2171"/>
                </a:lnTo>
                <a:lnTo>
                  <a:pt x="1485" y="2594"/>
                </a:lnTo>
                <a:cubicBezTo>
                  <a:pt x="1466" y="2613"/>
                  <a:pt x="1449" y="2634"/>
                  <a:pt x="1435" y="2656"/>
                </a:cubicBezTo>
                <a:cubicBezTo>
                  <a:pt x="1311" y="2601"/>
                  <a:pt x="1176" y="2572"/>
                  <a:pt x="1037" y="2572"/>
                </a:cubicBezTo>
                <a:cubicBezTo>
                  <a:pt x="775" y="2572"/>
                  <a:pt x="529" y="2674"/>
                  <a:pt x="344" y="2859"/>
                </a:cubicBezTo>
                <a:cubicBezTo>
                  <a:pt x="96" y="3106"/>
                  <a:pt x="0" y="3471"/>
                  <a:pt x="92" y="3809"/>
                </a:cubicBezTo>
                <a:cubicBezTo>
                  <a:pt x="103" y="3852"/>
                  <a:pt x="143" y="3882"/>
                  <a:pt x="186" y="3882"/>
                </a:cubicBezTo>
                <a:lnTo>
                  <a:pt x="186" y="3882"/>
                </a:lnTo>
                <a:cubicBezTo>
                  <a:pt x="204" y="3882"/>
                  <a:pt x="232" y="3877"/>
                  <a:pt x="258" y="3851"/>
                </a:cubicBezTo>
                <a:cubicBezTo>
                  <a:pt x="261" y="3847"/>
                  <a:pt x="611" y="3500"/>
                  <a:pt x="727" y="3384"/>
                </a:cubicBezTo>
                <a:cubicBezTo>
                  <a:pt x="740" y="3372"/>
                  <a:pt x="762" y="3370"/>
                  <a:pt x="774" y="3370"/>
                </a:cubicBezTo>
                <a:cubicBezTo>
                  <a:pt x="783" y="3370"/>
                  <a:pt x="789" y="3371"/>
                  <a:pt x="789" y="3371"/>
                </a:cubicBezTo>
                <a:lnTo>
                  <a:pt x="789" y="3371"/>
                </a:lnTo>
                <a:lnTo>
                  <a:pt x="796" y="3372"/>
                </a:lnTo>
                <a:cubicBezTo>
                  <a:pt x="940" y="3385"/>
                  <a:pt x="1113" y="3411"/>
                  <a:pt x="1157" y="3431"/>
                </a:cubicBezTo>
                <a:cubicBezTo>
                  <a:pt x="1178" y="3475"/>
                  <a:pt x="1205" y="3652"/>
                  <a:pt x="1218" y="3798"/>
                </a:cubicBezTo>
                <a:lnTo>
                  <a:pt x="1219" y="3805"/>
                </a:lnTo>
                <a:cubicBezTo>
                  <a:pt x="1219" y="3805"/>
                  <a:pt x="1223" y="3842"/>
                  <a:pt x="1192" y="3873"/>
                </a:cubicBezTo>
                <a:cubicBezTo>
                  <a:pt x="1072" y="3993"/>
                  <a:pt x="741" y="4327"/>
                  <a:pt x="738" y="4330"/>
                </a:cubicBezTo>
                <a:cubicBezTo>
                  <a:pt x="710" y="4358"/>
                  <a:pt x="699" y="4393"/>
                  <a:pt x="707" y="4427"/>
                </a:cubicBezTo>
                <a:cubicBezTo>
                  <a:pt x="718" y="4467"/>
                  <a:pt x="752" y="4489"/>
                  <a:pt x="780" y="4497"/>
                </a:cubicBezTo>
                <a:cubicBezTo>
                  <a:pt x="864" y="4519"/>
                  <a:pt x="950" y="4531"/>
                  <a:pt x="1037" y="4531"/>
                </a:cubicBezTo>
                <a:cubicBezTo>
                  <a:pt x="1298" y="4531"/>
                  <a:pt x="1544" y="4429"/>
                  <a:pt x="1729" y="4244"/>
                </a:cubicBezTo>
                <a:cubicBezTo>
                  <a:pt x="1914" y="4059"/>
                  <a:pt x="2016" y="3813"/>
                  <a:pt x="2016" y="3551"/>
                </a:cubicBezTo>
                <a:cubicBezTo>
                  <a:pt x="2016" y="3412"/>
                  <a:pt x="1987" y="3277"/>
                  <a:pt x="1932" y="3153"/>
                </a:cubicBezTo>
                <a:cubicBezTo>
                  <a:pt x="1954" y="3139"/>
                  <a:pt x="1975" y="3122"/>
                  <a:pt x="1994" y="3103"/>
                </a:cubicBezTo>
                <a:lnTo>
                  <a:pt x="2417" y="2681"/>
                </a:lnTo>
                <a:lnTo>
                  <a:pt x="2535" y="2799"/>
                </a:lnTo>
                <a:lnTo>
                  <a:pt x="2469" y="2866"/>
                </a:lnTo>
                <a:cubicBezTo>
                  <a:pt x="2431" y="2904"/>
                  <a:pt x="2410" y="2954"/>
                  <a:pt x="2410" y="3007"/>
                </a:cubicBezTo>
                <a:cubicBezTo>
                  <a:pt x="2410" y="3061"/>
                  <a:pt x="2431" y="3111"/>
                  <a:pt x="2469" y="3149"/>
                </a:cubicBezTo>
                <a:lnTo>
                  <a:pt x="2721" y="3401"/>
                </a:lnTo>
                <a:cubicBezTo>
                  <a:pt x="2712" y="3427"/>
                  <a:pt x="2707" y="3455"/>
                  <a:pt x="2707" y="3484"/>
                </a:cubicBezTo>
                <a:cubicBezTo>
                  <a:pt x="2707" y="3552"/>
                  <a:pt x="2734" y="3615"/>
                  <a:pt x="2781" y="3663"/>
                </a:cubicBezTo>
                <a:lnTo>
                  <a:pt x="3834" y="4715"/>
                </a:lnTo>
                <a:cubicBezTo>
                  <a:pt x="3881" y="4763"/>
                  <a:pt x="3945" y="4789"/>
                  <a:pt x="4013" y="4789"/>
                </a:cubicBezTo>
                <a:cubicBezTo>
                  <a:pt x="4081" y="4789"/>
                  <a:pt x="4144" y="4763"/>
                  <a:pt x="4192" y="4715"/>
                </a:cubicBezTo>
                <a:lnTo>
                  <a:pt x="4734" y="4173"/>
                </a:lnTo>
                <a:cubicBezTo>
                  <a:pt x="4782" y="4126"/>
                  <a:pt x="4808" y="4062"/>
                  <a:pt x="4808" y="3994"/>
                </a:cubicBezTo>
                <a:cubicBezTo>
                  <a:pt x="4808" y="3926"/>
                  <a:pt x="4782" y="3863"/>
                  <a:pt x="4734" y="381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/>
          </a:p>
        </p:txBody>
      </p:sp>
      <p:sp>
        <p:nvSpPr>
          <p:cNvPr id="9" name="内容占位符 2"/>
          <p:cNvSpPr txBox="1"/>
          <p:nvPr/>
        </p:nvSpPr>
        <p:spPr>
          <a:xfrm>
            <a:off x="1711447" y="1267883"/>
            <a:ext cx="4308362" cy="139542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580"/>
              </a:spcBef>
              <a:buNone/>
              <a:defRPr/>
            </a:pPr>
            <a:r>
              <a:rPr lang="zh-CN" altLang="en-US" sz="2400" dirty="0"/>
              <a:t>优先级调度算法的类型</a:t>
            </a:r>
          </a:p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非抢占式</a:t>
            </a:r>
          </a:p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抢占式</a:t>
            </a:r>
          </a:p>
        </p:txBody>
      </p:sp>
      <p:sp>
        <p:nvSpPr>
          <p:cNvPr id="10" name="内容占位符 2"/>
          <p:cNvSpPr txBox="1"/>
          <p:nvPr/>
        </p:nvSpPr>
        <p:spPr>
          <a:xfrm>
            <a:off x="1739456" y="2950959"/>
            <a:ext cx="9970189" cy="3272288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spcBef>
                <a:spcPts val="580"/>
              </a:spcBef>
              <a:buNone/>
              <a:defRPr/>
            </a:pPr>
            <a:r>
              <a:rPr lang="zh-CN" altLang="en-US" sz="2400" dirty="0"/>
              <a:t>优先级类型</a:t>
            </a: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>
                <a:solidFill>
                  <a:srgbClr val="FF0000"/>
                </a:solidFill>
              </a:rPr>
              <a:t>静态优先级</a:t>
            </a:r>
          </a:p>
          <a:p>
            <a:pPr marL="457200" lvl="2" indent="-342900">
              <a:lnSpc>
                <a:spcPct val="120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p"/>
              <a:defRPr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创建进程时确定优先数</a:t>
            </a:r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整数</a:t>
            </a:r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，在进程的整个运行期间保持不变</a:t>
            </a:r>
          </a:p>
          <a:p>
            <a:pPr marL="457200" lvl="2" indent="-342900">
              <a:lnSpc>
                <a:spcPct val="120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p"/>
              <a:defRPr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简单易行，系统开销小</a:t>
            </a:r>
          </a:p>
          <a:p>
            <a:pPr marL="457200" lvl="2" indent="-342900">
              <a:lnSpc>
                <a:spcPct val="120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p"/>
              <a:defRPr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不够精确，可能会出现优先级低的进程长期没有被调度的情况</a:t>
            </a: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200" dirty="0">
                <a:solidFill>
                  <a:srgbClr val="FF0000"/>
                </a:solidFill>
              </a:rPr>
              <a:t>动态优先级</a:t>
            </a:r>
          </a:p>
          <a:p>
            <a:pPr marL="457200" lvl="2" indent="-342900">
              <a:lnSpc>
                <a:spcPct val="120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p"/>
              <a:defRPr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创建进程时先赋予其一个优先级，然后其值随进程的推进或等待时间的增加而改变</a:t>
            </a: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endParaRPr lang="zh-CN" altLang="en-US" sz="2200" dirty="0">
              <a:solidFill>
                <a:srgbClr val="FF0000"/>
              </a:solidFill>
            </a:endParaRPr>
          </a:p>
        </p:txBody>
      </p:sp>
      <p:cxnSp>
        <p:nvCxnSpPr>
          <p:cNvPr id="3" name="直接连接符 2"/>
          <p:cNvCxnSpPr/>
          <p:nvPr/>
        </p:nvCxnSpPr>
        <p:spPr>
          <a:xfrm>
            <a:off x="1074198" y="2849732"/>
            <a:ext cx="1024483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非抢占式优先级调度算法举例</a:t>
            </a:r>
          </a:p>
        </p:txBody>
      </p:sp>
      <p:sp>
        <p:nvSpPr>
          <p:cNvPr id="31" name="文本框 30"/>
          <p:cNvSpPr txBox="1"/>
          <p:nvPr/>
        </p:nvSpPr>
        <p:spPr>
          <a:xfrm>
            <a:off x="571728" y="1407861"/>
            <a:ext cx="5275795" cy="2710742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buClr>
                <a:srgbClr val="FF0000"/>
              </a:buClr>
              <a:defRPr/>
            </a:pPr>
            <a:r>
              <a:rPr lang="zh-CN" altLang="en-US" sz="2400" dirty="0"/>
              <a:t>进程	</a:t>
            </a:r>
            <a:r>
              <a:rPr lang="en-US" altLang="zh-CN" sz="2400" dirty="0"/>
              <a:t>	</a:t>
            </a:r>
            <a:r>
              <a:rPr lang="zh-CN" altLang="en-US" sz="2400" dirty="0"/>
              <a:t>优先级	运行时间</a:t>
            </a:r>
          </a:p>
          <a:p>
            <a:pPr>
              <a:lnSpc>
                <a:spcPct val="120000"/>
              </a:lnSpc>
              <a:buClr>
                <a:srgbClr val="FF0000"/>
              </a:buClr>
              <a:defRPr/>
            </a:pPr>
            <a:r>
              <a:rPr lang="en-US" altLang="zh-CN" sz="2400" dirty="0"/>
              <a:t>P1	   	3		10</a:t>
            </a:r>
          </a:p>
          <a:p>
            <a:pPr>
              <a:lnSpc>
                <a:spcPct val="120000"/>
              </a:lnSpc>
              <a:buClr>
                <a:srgbClr val="FF0000"/>
              </a:buClr>
              <a:defRPr/>
            </a:pPr>
            <a:r>
              <a:rPr lang="en-US" altLang="zh-CN" sz="2400" dirty="0"/>
              <a:t>P2	    	1		1</a:t>
            </a:r>
          </a:p>
          <a:p>
            <a:pPr>
              <a:lnSpc>
                <a:spcPct val="120000"/>
              </a:lnSpc>
              <a:buClr>
                <a:srgbClr val="FF0000"/>
              </a:buClr>
              <a:defRPr/>
            </a:pPr>
            <a:r>
              <a:rPr lang="en-US" altLang="zh-CN" sz="2400" dirty="0"/>
              <a:t>P3	   	3		2</a:t>
            </a:r>
          </a:p>
          <a:p>
            <a:pPr>
              <a:lnSpc>
                <a:spcPct val="120000"/>
              </a:lnSpc>
              <a:buClr>
                <a:srgbClr val="FF0000"/>
              </a:buClr>
              <a:defRPr/>
            </a:pPr>
            <a:r>
              <a:rPr lang="en-US" altLang="zh-CN" sz="2400" dirty="0"/>
              <a:t>P4	   	4		1</a:t>
            </a:r>
          </a:p>
          <a:p>
            <a:pPr>
              <a:lnSpc>
                <a:spcPct val="120000"/>
              </a:lnSpc>
              <a:buClr>
                <a:srgbClr val="FF0000"/>
              </a:buClr>
              <a:defRPr/>
            </a:pPr>
            <a:r>
              <a:rPr lang="en-US" altLang="zh-CN" sz="2400" dirty="0"/>
              <a:t>P5	   	2		5</a:t>
            </a:r>
          </a:p>
        </p:txBody>
      </p:sp>
      <p:sp>
        <p:nvSpPr>
          <p:cNvPr id="69" name="内容占位符 2"/>
          <p:cNvSpPr txBox="1"/>
          <p:nvPr/>
        </p:nvSpPr>
        <p:spPr>
          <a:xfrm>
            <a:off x="566397" y="4433398"/>
            <a:ext cx="11251523" cy="1500483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800" dirty="0"/>
              <a:t>  平均等待时间 </a:t>
            </a:r>
            <a:r>
              <a:rPr lang="en-US" altLang="zh-CN" sz="2800" dirty="0"/>
              <a:t>= (6 + 0 + 16+18+1)/5 =8.2</a:t>
            </a:r>
          </a:p>
          <a:p>
            <a:pPr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800" dirty="0"/>
              <a:t>  平均周转时间 </a:t>
            </a:r>
            <a:r>
              <a:rPr lang="en-US" altLang="zh-CN" sz="2800" dirty="0"/>
              <a:t>= (16 + 1 + 18+19+6)/5 = 12</a:t>
            </a:r>
          </a:p>
        </p:txBody>
      </p:sp>
      <p:grpSp>
        <p:nvGrpSpPr>
          <p:cNvPr id="40" name="Group 39"/>
          <p:cNvGrpSpPr/>
          <p:nvPr/>
        </p:nvGrpSpPr>
        <p:grpSpPr bwMode="auto">
          <a:xfrm>
            <a:off x="6096000" y="2818223"/>
            <a:ext cx="5721920" cy="1221554"/>
            <a:chOff x="812" y="2744"/>
            <a:chExt cx="4690" cy="857"/>
          </a:xfrm>
          <a:solidFill>
            <a:srgbClr val="FFFF00"/>
          </a:solidFill>
        </p:grpSpPr>
        <p:sp>
          <p:nvSpPr>
            <p:cNvPr id="42" name="Rectangle 4"/>
            <p:cNvSpPr>
              <a:spLocks noChangeArrowheads="1"/>
            </p:cNvSpPr>
            <p:nvPr/>
          </p:nvSpPr>
          <p:spPr bwMode="auto">
            <a:xfrm flipH="1">
              <a:off x="928" y="2753"/>
              <a:ext cx="4352" cy="384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44" name="Text Box 5"/>
            <p:cNvSpPr txBox="1">
              <a:spLocks noChangeArrowheads="1"/>
            </p:cNvSpPr>
            <p:nvPr/>
          </p:nvSpPr>
          <p:spPr bwMode="auto">
            <a:xfrm flipH="1">
              <a:off x="961" y="2773"/>
              <a:ext cx="435" cy="34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 dirty="0">
                  <a:latin typeface="Arial" panose="020B0604020202020204" pitchFamily="34" charset="0"/>
                </a:rPr>
                <a:t>P</a:t>
              </a:r>
              <a:r>
                <a:rPr lang="en-US" altLang="zh-CN" sz="2600" baseline="-25000" dirty="0">
                  <a:latin typeface="Arial" panose="020B0604020202020204" pitchFamily="34" charset="0"/>
                </a:rPr>
                <a:t>2</a:t>
              </a:r>
              <a:endParaRPr lang="en-US" altLang="zh-CN" sz="2600" dirty="0">
                <a:latin typeface="Arial" panose="020B0604020202020204" pitchFamily="34" charset="0"/>
              </a:endParaRPr>
            </a:p>
          </p:txBody>
        </p:sp>
        <p:sp>
          <p:nvSpPr>
            <p:cNvPr id="45" name="Text Box 6"/>
            <p:cNvSpPr txBox="1">
              <a:spLocks noChangeArrowheads="1"/>
            </p:cNvSpPr>
            <p:nvPr/>
          </p:nvSpPr>
          <p:spPr bwMode="auto">
            <a:xfrm flipH="1">
              <a:off x="4376" y="2773"/>
              <a:ext cx="435" cy="34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 dirty="0">
                  <a:latin typeface="Arial" panose="020B0604020202020204" pitchFamily="34" charset="0"/>
                </a:rPr>
                <a:t>P</a:t>
              </a:r>
              <a:r>
                <a:rPr lang="en-US" altLang="zh-CN" sz="2600" baseline="-25000" dirty="0">
                  <a:latin typeface="Arial" panose="020B0604020202020204" pitchFamily="34" charset="0"/>
                </a:rPr>
                <a:t>3</a:t>
              </a:r>
              <a:endParaRPr lang="en-US" altLang="zh-CN" sz="2600" dirty="0">
                <a:latin typeface="Arial" panose="020B0604020202020204" pitchFamily="34" charset="0"/>
              </a:endParaRPr>
            </a:p>
          </p:txBody>
        </p:sp>
        <p:sp>
          <p:nvSpPr>
            <p:cNvPr id="46" name="Text Box 7"/>
            <p:cNvSpPr txBox="1">
              <a:spLocks noChangeArrowheads="1"/>
            </p:cNvSpPr>
            <p:nvPr/>
          </p:nvSpPr>
          <p:spPr bwMode="auto">
            <a:xfrm flipH="1">
              <a:off x="1597" y="2772"/>
              <a:ext cx="435" cy="34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 dirty="0">
                  <a:latin typeface="Arial" panose="020B0604020202020204" pitchFamily="34" charset="0"/>
                </a:rPr>
                <a:t>P</a:t>
              </a:r>
              <a:r>
                <a:rPr lang="en-US" altLang="zh-CN" sz="2600" baseline="-25000" dirty="0">
                  <a:latin typeface="Arial" panose="020B0604020202020204" pitchFamily="34" charset="0"/>
                </a:rPr>
                <a:t>5</a:t>
              </a:r>
              <a:endParaRPr lang="en-US" altLang="zh-CN" sz="2600" dirty="0">
                <a:latin typeface="Arial" panose="020B0604020202020204" pitchFamily="34" charset="0"/>
              </a:endParaRPr>
            </a:p>
          </p:txBody>
        </p:sp>
        <p:sp>
          <p:nvSpPr>
            <p:cNvPr id="47" name="Line 9"/>
            <p:cNvSpPr>
              <a:spLocks noChangeShapeType="1"/>
            </p:cNvSpPr>
            <p:nvPr/>
          </p:nvSpPr>
          <p:spPr bwMode="auto">
            <a:xfrm flipH="1">
              <a:off x="931" y="3129"/>
              <a:ext cx="0" cy="144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48" name="Line 11"/>
            <p:cNvSpPr>
              <a:spLocks noChangeShapeType="1"/>
            </p:cNvSpPr>
            <p:nvPr/>
          </p:nvSpPr>
          <p:spPr bwMode="auto">
            <a:xfrm flipH="1">
              <a:off x="1411" y="2766"/>
              <a:ext cx="0" cy="512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49" name="Text Box 14"/>
            <p:cNvSpPr txBox="1">
              <a:spLocks noChangeArrowheads="1"/>
            </p:cNvSpPr>
            <p:nvPr/>
          </p:nvSpPr>
          <p:spPr bwMode="auto">
            <a:xfrm flipH="1">
              <a:off x="1259" y="3232"/>
              <a:ext cx="304" cy="34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 dirty="0">
                  <a:latin typeface="Arial" panose="020B0604020202020204" pitchFamily="34" charset="0"/>
                </a:rPr>
                <a:t>1</a:t>
              </a:r>
            </a:p>
          </p:txBody>
        </p:sp>
        <p:sp>
          <p:nvSpPr>
            <p:cNvPr id="50" name="Text Box 15"/>
            <p:cNvSpPr txBox="1">
              <a:spLocks noChangeArrowheads="1"/>
            </p:cNvSpPr>
            <p:nvPr/>
          </p:nvSpPr>
          <p:spPr bwMode="auto">
            <a:xfrm flipH="1">
              <a:off x="4031" y="3256"/>
              <a:ext cx="456" cy="34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 dirty="0">
                  <a:latin typeface="Arial" panose="020B0604020202020204" pitchFamily="34" charset="0"/>
                </a:rPr>
                <a:t>16</a:t>
              </a:r>
            </a:p>
          </p:txBody>
        </p:sp>
        <p:sp>
          <p:nvSpPr>
            <p:cNvPr id="51" name="Text Box 16"/>
            <p:cNvSpPr txBox="1">
              <a:spLocks noChangeArrowheads="1"/>
            </p:cNvSpPr>
            <p:nvPr/>
          </p:nvSpPr>
          <p:spPr bwMode="auto">
            <a:xfrm flipH="1">
              <a:off x="812" y="3236"/>
              <a:ext cx="304" cy="34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>
                  <a:latin typeface="Arial" panose="020B0604020202020204" pitchFamily="34" charset="0"/>
                </a:rPr>
                <a:t>0</a:t>
              </a:r>
            </a:p>
          </p:txBody>
        </p:sp>
        <p:sp>
          <p:nvSpPr>
            <p:cNvPr id="52" name="Text Box 17"/>
            <p:cNvSpPr txBox="1">
              <a:spLocks noChangeArrowheads="1"/>
            </p:cNvSpPr>
            <p:nvPr/>
          </p:nvSpPr>
          <p:spPr bwMode="auto">
            <a:xfrm flipH="1">
              <a:off x="4857" y="2783"/>
              <a:ext cx="456" cy="34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 dirty="0">
                  <a:latin typeface="Arial" panose="020B0604020202020204" pitchFamily="34" charset="0"/>
                </a:rPr>
                <a:t>P</a:t>
              </a:r>
              <a:r>
                <a:rPr lang="en-US" altLang="zh-CN" sz="2600" baseline="-25000" dirty="0">
                  <a:latin typeface="Arial" panose="020B0604020202020204" pitchFamily="34" charset="0"/>
                </a:rPr>
                <a:t>4</a:t>
              </a:r>
              <a:endParaRPr lang="en-US" altLang="zh-CN" sz="2600" dirty="0">
                <a:latin typeface="Arial" panose="020B0604020202020204" pitchFamily="34" charset="0"/>
              </a:endParaRPr>
            </a:p>
          </p:txBody>
        </p:sp>
        <p:sp>
          <p:nvSpPr>
            <p:cNvPr id="53" name="Text Box 22"/>
            <p:cNvSpPr txBox="1">
              <a:spLocks noChangeArrowheads="1"/>
            </p:cNvSpPr>
            <p:nvPr/>
          </p:nvSpPr>
          <p:spPr bwMode="auto">
            <a:xfrm flipH="1">
              <a:off x="2014" y="3236"/>
              <a:ext cx="304" cy="34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 dirty="0">
                  <a:latin typeface="Arial" panose="020B0604020202020204" pitchFamily="34" charset="0"/>
                </a:rPr>
                <a:t>6</a:t>
              </a:r>
            </a:p>
          </p:txBody>
        </p:sp>
        <p:sp>
          <p:nvSpPr>
            <p:cNvPr id="54" name="Text Box 27"/>
            <p:cNvSpPr txBox="1">
              <a:spLocks noChangeArrowheads="1"/>
            </p:cNvSpPr>
            <p:nvPr/>
          </p:nvSpPr>
          <p:spPr bwMode="auto">
            <a:xfrm flipH="1">
              <a:off x="4562" y="3256"/>
              <a:ext cx="456" cy="34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 dirty="0">
                  <a:latin typeface="Arial" panose="020B0604020202020204" pitchFamily="34" charset="0"/>
                </a:rPr>
                <a:t>18</a:t>
              </a:r>
            </a:p>
          </p:txBody>
        </p:sp>
        <p:sp>
          <p:nvSpPr>
            <p:cNvPr id="55" name="Line 31"/>
            <p:cNvSpPr>
              <a:spLocks noChangeShapeType="1"/>
            </p:cNvSpPr>
            <p:nvPr/>
          </p:nvSpPr>
          <p:spPr bwMode="auto">
            <a:xfrm flipH="1">
              <a:off x="4262" y="2762"/>
              <a:ext cx="0" cy="552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56" name="Line 32"/>
            <p:cNvSpPr>
              <a:spLocks noChangeShapeType="1"/>
            </p:cNvSpPr>
            <p:nvPr/>
          </p:nvSpPr>
          <p:spPr bwMode="auto">
            <a:xfrm flipH="1">
              <a:off x="2160" y="2744"/>
              <a:ext cx="0" cy="512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57" name="Text Box 33"/>
            <p:cNvSpPr txBox="1">
              <a:spLocks noChangeArrowheads="1"/>
            </p:cNvSpPr>
            <p:nvPr/>
          </p:nvSpPr>
          <p:spPr bwMode="auto">
            <a:xfrm flipH="1">
              <a:off x="3065" y="2772"/>
              <a:ext cx="435" cy="34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 dirty="0">
                  <a:latin typeface="Arial" panose="020B0604020202020204" pitchFamily="34" charset="0"/>
                </a:rPr>
                <a:t>P</a:t>
              </a:r>
              <a:r>
                <a:rPr lang="en-US" altLang="zh-CN" sz="2600" baseline="-25000" dirty="0">
                  <a:latin typeface="Arial" panose="020B0604020202020204" pitchFamily="34" charset="0"/>
                </a:rPr>
                <a:t>1</a:t>
              </a:r>
              <a:endParaRPr lang="en-US" altLang="zh-CN" sz="2600" dirty="0">
                <a:latin typeface="Arial" panose="020B0604020202020204" pitchFamily="34" charset="0"/>
              </a:endParaRPr>
            </a:p>
          </p:txBody>
        </p:sp>
        <p:sp>
          <p:nvSpPr>
            <p:cNvPr id="58" name="Text Box 36"/>
            <p:cNvSpPr txBox="1">
              <a:spLocks noChangeArrowheads="1"/>
            </p:cNvSpPr>
            <p:nvPr/>
          </p:nvSpPr>
          <p:spPr bwMode="auto">
            <a:xfrm flipH="1">
              <a:off x="5046" y="3256"/>
              <a:ext cx="456" cy="34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 dirty="0">
                  <a:latin typeface="Arial" panose="020B0604020202020204" pitchFamily="34" charset="0"/>
                </a:rPr>
                <a:t>19</a:t>
              </a:r>
            </a:p>
          </p:txBody>
        </p:sp>
        <p:sp>
          <p:nvSpPr>
            <p:cNvPr id="59" name="Line 37"/>
            <p:cNvSpPr>
              <a:spLocks noChangeShapeType="1"/>
            </p:cNvSpPr>
            <p:nvPr/>
          </p:nvSpPr>
          <p:spPr bwMode="auto">
            <a:xfrm flipH="1">
              <a:off x="4852" y="2760"/>
              <a:ext cx="0" cy="552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  <p:sp>
          <p:nvSpPr>
            <p:cNvPr id="60" name="Line 38"/>
            <p:cNvSpPr>
              <a:spLocks noChangeShapeType="1"/>
            </p:cNvSpPr>
            <p:nvPr/>
          </p:nvSpPr>
          <p:spPr bwMode="auto">
            <a:xfrm flipH="1">
              <a:off x="5280" y="2760"/>
              <a:ext cx="0" cy="552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zh-CN" altLang="en-US" sz="2600">
                <a:latin typeface="Arial" panose="020B0604020202020204" pitchFamily="34" charset="0"/>
              </a:endParaRPr>
            </a:p>
          </p:txBody>
        </p:sp>
      </p:grp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优先级调度算法的优缺点</a:t>
            </a:r>
          </a:p>
        </p:txBody>
      </p:sp>
      <p:sp>
        <p:nvSpPr>
          <p:cNvPr id="29" name="ïşľîďè"/>
          <p:cNvSpPr/>
          <p:nvPr/>
        </p:nvSpPr>
        <p:spPr>
          <a:xfrm>
            <a:off x="259042" y="1214021"/>
            <a:ext cx="4669654" cy="5003800"/>
          </a:xfrm>
          <a:prstGeom prst="rect">
            <a:avLst/>
          </a:prstGeom>
          <a:blipFill>
            <a:blip r:embed="rId2"/>
            <a:stretch>
              <a:fillRect l="-30450" r="-30284"/>
            </a:stretch>
          </a:blip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31" name="îŝļiḋe"/>
          <p:cNvSpPr/>
          <p:nvPr/>
        </p:nvSpPr>
        <p:spPr>
          <a:xfrm>
            <a:off x="4271749" y="1214021"/>
            <a:ext cx="656948" cy="5003800"/>
          </a:xfrm>
          <a:prstGeom prst="rect">
            <a:avLst/>
          </a:prstGeom>
          <a:solidFill>
            <a:schemeClr val="accent1">
              <a:alpha val="70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32" name="í$1iďè"/>
          <p:cNvGrpSpPr/>
          <p:nvPr/>
        </p:nvGrpSpPr>
        <p:grpSpPr>
          <a:xfrm>
            <a:off x="4396037" y="1491768"/>
            <a:ext cx="7381904" cy="1002148"/>
            <a:chOff x="4136995" y="1408047"/>
            <a:chExt cx="7381904" cy="1002148"/>
          </a:xfrm>
        </p:grpSpPr>
        <p:sp>
          <p:nvSpPr>
            <p:cNvPr id="34" name="îslîďê"/>
            <p:cNvSpPr/>
            <p:nvPr/>
          </p:nvSpPr>
          <p:spPr>
            <a:xfrm>
              <a:off x="4136995" y="1712614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36" name="ïSḻiḍé"/>
            <p:cNvSpPr txBox="1"/>
            <p:nvPr/>
          </p:nvSpPr>
          <p:spPr>
            <a:xfrm>
              <a:off x="4882718" y="1408047"/>
              <a:ext cx="6636181" cy="100214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ts val="600"/>
                </a:spcBef>
                <a:defRPr/>
              </a:pPr>
              <a:r>
                <a:rPr lang="zh-CN" altLang="en-US" sz="2400" dirty="0">
                  <a:solidFill>
                    <a:srgbClr val="FF0000"/>
                  </a:solidFill>
                </a:rPr>
                <a:t>优点</a:t>
              </a:r>
              <a:endParaRPr lang="en-US" altLang="zh-CN" sz="2400" dirty="0">
                <a:solidFill>
                  <a:srgbClr val="FF0000"/>
                </a:solidFill>
              </a:endParaRPr>
            </a:p>
            <a:p>
              <a:pPr marL="342900" indent="-342900">
                <a:spcBef>
                  <a:spcPts val="600"/>
                </a:spcBef>
                <a:buClr>
                  <a:srgbClr val="0000FF"/>
                </a:buClr>
                <a:buFont typeface="Wingdings" panose="05000000000000000000" pitchFamily="2" charset="2"/>
                <a:buChar char="Ø"/>
                <a:defRPr/>
              </a:pPr>
              <a:r>
                <a:rPr lang="zh-CN" altLang="en-US" sz="2200" dirty="0"/>
                <a:t>实现简单，考虑了进程的紧迫程度</a:t>
              </a:r>
            </a:p>
            <a:p>
              <a:pPr marL="342900" indent="-342900">
                <a:spcBef>
                  <a:spcPts val="600"/>
                </a:spcBef>
                <a:buClr>
                  <a:srgbClr val="0000FF"/>
                </a:buClr>
                <a:buFont typeface="Wingdings" panose="05000000000000000000" pitchFamily="2" charset="2"/>
                <a:buChar char="Ø"/>
                <a:defRPr/>
              </a:pPr>
              <a:r>
                <a:rPr lang="zh-CN" altLang="en-US" sz="2200" dirty="0"/>
                <a:t>灵活，可模拟其它算法</a:t>
              </a:r>
            </a:p>
          </p:txBody>
        </p:sp>
      </p:grpSp>
      <p:grpSp>
        <p:nvGrpSpPr>
          <p:cNvPr id="38" name="išḷîḓé"/>
          <p:cNvGrpSpPr/>
          <p:nvPr/>
        </p:nvGrpSpPr>
        <p:grpSpPr>
          <a:xfrm>
            <a:off x="4396037" y="3073347"/>
            <a:ext cx="7536922" cy="801176"/>
            <a:chOff x="4136995" y="3233565"/>
            <a:chExt cx="7536922" cy="801176"/>
          </a:xfrm>
        </p:grpSpPr>
        <p:sp>
          <p:nvSpPr>
            <p:cNvPr id="39" name="íśľïḋé"/>
            <p:cNvSpPr/>
            <p:nvPr/>
          </p:nvSpPr>
          <p:spPr>
            <a:xfrm>
              <a:off x="4136995" y="3450237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40" name="îŝľîḓè"/>
            <p:cNvSpPr txBox="1"/>
            <p:nvPr/>
          </p:nvSpPr>
          <p:spPr>
            <a:xfrm>
              <a:off x="4882719" y="3233565"/>
              <a:ext cx="6791198" cy="80117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zh-CN" altLang="en-US" sz="2400" dirty="0"/>
                <a:t>存在问题</a:t>
              </a:r>
              <a:endParaRPr lang="en-US" altLang="zh-CN" sz="2400" dirty="0"/>
            </a:p>
            <a:p>
              <a:pPr marL="342900" indent="-342900">
                <a:lnSpc>
                  <a:spcPct val="13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饥饿 </a:t>
              </a:r>
              <a:r>
                <a:rPr lang="en-US" altLang="zh-CN" sz="2400" dirty="0"/>
                <a:t>——</a:t>
              </a:r>
              <a:r>
                <a:rPr lang="zh-CN" altLang="en-US" sz="2400" dirty="0"/>
                <a:t>低优先级的进程可能永远得不到运行</a:t>
              </a:r>
            </a:p>
          </p:txBody>
        </p:sp>
      </p:grpSp>
      <p:grpSp>
        <p:nvGrpSpPr>
          <p:cNvPr id="42" name="ïSlíḍê"/>
          <p:cNvGrpSpPr/>
          <p:nvPr/>
        </p:nvGrpSpPr>
        <p:grpSpPr>
          <a:xfrm>
            <a:off x="4396037" y="4451663"/>
            <a:ext cx="7637467" cy="1311067"/>
            <a:chOff x="4136995" y="4714289"/>
            <a:chExt cx="7637467" cy="1311067"/>
          </a:xfrm>
        </p:grpSpPr>
        <p:sp>
          <p:nvSpPr>
            <p:cNvPr id="44" name="ïsľíḓê"/>
            <p:cNvSpPr/>
            <p:nvPr/>
          </p:nvSpPr>
          <p:spPr>
            <a:xfrm>
              <a:off x="4136995" y="5187860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45" name="íṧļîḋê"/>
            <p:cNvSpPr txBox="1"/>
            <p:nvPr/>
          </p:nvSpPr>
          <p:spPr>
            <a:xfrm>
              <a:off x="4882717" y="4714289"/>
              <a:ext cx="6891745" cy="131106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ts val="600"/>
                </a:spcBef>
                <a:defRPr/>
              </a:pPr>
              <a:r>
                <a:rPr lang="zh-CN" altLang="en-US" sz="2400" dirty="0"/>
                <a:t>解决方法</a:t>
              </a:r>
              <a:endParaRPr lang="en-US" altLang="zh-CN" sz="2400" dirty="0"/>
            </a:p>
            <a:p>
              <a:pPr marL="342900" indent="-342900">
                <a:spcBef>
                  <a:spcPts val="600"/>
                </a:spcBef>
                <a:buClr>
                  <a:srgbClr val="0000FF"/>
                </a:buClr>
                <a:buFont typeface="Wingdings" panose="05000000000000000000" pitchFamily="2" charset="2"/>
                <a:buChar char="Ø"/>
                <a:defRPr/>
              </a:pPr>
              <a:r>
                <a:rPr lang="zh-CN" altLang="en-US" sz="2400" dirty="0"/>
                <a:t>老化 </a:t>
              </a:r>
              <a:r>
                <a:rPr lang="en-US" altLang="zh-CN" sz="2400" dirty="0"/>
                <a:t>—— </a:t>
              </a:r>
              <a:r>
                <a:rPr lang="zh-CN" altLang="en-US" sz="2400" dirty="0"/>
                <a:t>视进程等待时间的延长提高其优先数</a:t>
              </a:r>
            </a:p>
          </p:txBody>
        </p:sp>
      </p:grp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高响应比优先调度算法（</a:t>
            </a:r>
            <a:r>
              <a:rPr lang="en-US" altLang="zh-CN" sz="2800" b="1" dirty="0">
                <a:solidFill>
                  <a:schemeClr val="bg1"/>
                </a:solidFill>
              </a:rPr>
              <a:t>PR</a:t>
            </a:r>
            <a:r>
              <a:rPr lang="zh-CN" altLang="en-US" sz="2800" b="1" dirty="0">
                <a:solidFill>
                  <a:schemeClr val="bg1"/>
                </a:solidFill>
              </a:rPr>
              <a:t>的特例）</a:t>
            </a:r>
          </a:p>
        </p:txBody>
      </p:sp>
      <p:sp>
        <p:nvSpPr>
          <p:cNvPr id="85" name="内容占位符 2"/>
          <p:cNvSpPr txBox="1"/>
          <p:nvPr/>
        </p:nvSpPr>
        <p:spPr>
          <a:xfrm>
            <a:off x="1247478" y="1068801"/>
            <a:ext cx="7323522" cy="107119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467995">
              <a:lnSpc>
                <a:spcPct val="132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既考虑作业的等待时间，又考虑作业的运行时间</a:t>
            </a:r>
          </a:p>
        </p:txBody>
      </p:sp>
      <p:sp>
        <p:nvSpPr>
          <p:cNvPr id="86" name="内容占位符 2"/>
          <p:cNvSpPr txBox="1"/>
          <p:nvPr/>
        </p:nvSpPr>
        <p:spPr>
          <a:xfrm>
            <a:off x="1247478" y="1974649"/>
            <a:ext cx="2573361" cy="36568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467995"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0000FF"/>
                </a:solidFill>
              </a:rPr>
              <a:t>优先级：</a:t>
            </a:r>
          </a:p>
        </p:txBody>
      </p:sp>
      <p:sp>
        <p:nvSpPr>
          <p:cNvPr id="87" name="内容占位符 2"/>
          <p:cNvSpPr txBox="1"/>
          <p:nvPr/>
        </p:nvSpPr>
        <p:spPr>
          <a:xfrm>
            <a:off x="1247478" y="2974644"/>
            <a:ext cx="2573360" cy="36743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467995"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0000FF"/>
                </a:solidFill>
              </a:rPr>
              <a:t>响应比：</a:t>
            </a:r>
          </a:p>
        </p:txBody>
      </p:sp>
      <p:sp>
        <p:nvSpPr>
          <p:cNvPr id="88" name="内容占位符 2"/>
          <p:cNvSpPr txBox="1"/>
          <p:nvPr/>
        </p:nvSpPr>
        <p:spPr>
          <a:xfrm>
            <a:off x="1247478" y="3840029"/>
            <a:ext cx="7323522" cy="34343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467995"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如等待时间相同，取决于运行时间，类似于</a:t>
            </a:r>
            <a:r>
              <a:rPr lang="en-US" altLang="zh-CN" sz="2400" dirty="0"/>
              <a:t>SJF</a:t>
            </a:r>
          </a:p>
        </p:txBody>
      </p:sp>
      <p:sp>
        <p:nvSpPr>
          <p:cNvPr id="90" name="内容占位符 2"/>
          <p:cNvSpPr txBox="1"/>
          <p:nvPr/>
        </p:nvSpPr>
        <p:spPr>
          <a:xfrm>
            <a:off x="1247478" y="4493386"/>
            <a:ext cx="7323522" cy="36743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467995"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如运行时间相同，取决于等待时间，类似于</a:t>
            </a:r>
            <a:r>
              <a:rPr lang="en-US" altLang="zh-CN" sz="2400" dirty="0"/>
              <a:t>FCFS</a:t>
            </a:r>
          </a:p>
        </p:txBody>
      </p:sp>
      <p:sp>
        <p:nvSpPr>
          <p:cNvPr id="95" name="内容占位符 2"/>
          <p:cNvSpPr txBox="1"/>
          <p:nvPr/>
        </p:nvSpPr>
        <p:spPr>
          <a:xfrm>
            <a:off x="1247478" y="5047865"/>
            <a:ext cx="9272560" cy="7137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467995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长作业可随其等待时间的增加而提高，也可得到服务</a:t>
            </a:r>
          </a:p>
        </p:txBody>
      </p:sp>
      <p:sp>
        <p:nvSpPr>
          <p:cNvPr id="96" name="内容占位符 2"/>
          <p:cNvSpPr txBox="1"/>
          <p:nvPr/>
        </p:nvSpPr>
        <p:spPr>
          <a:xfrm>
            <a:off x="1247478" y="5677059"/>
            <a:ext cx="10213593" cy="57289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467995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缺点：每次调度之前，都需要计算响应比，增加系统开销</a:t>
            </a:r>
          </a:p>
        </p:txBody>
      </p:sp>
      <p:pic>
        <p:nvPicPr>
          <p:cNvPr id="22" name="图片 2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1176" y="1729281"/>
            <a:ext cx="4463189" cy="849753"/>
          </a:xfrm>
          <a:prstGeom prst="rect">
            <a:avLst/>
          </a:prstGeom>
        </p:spPr>
      </p:pic>
      <p:pic>
        <p:nvPicPr>
          <p:cNvPr id="23" name="图片 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61176" y="2809105"/>
            <a:ext cx="5444897" cy="800853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时间片轮转</a:t>
            </a:r>
            <a:r>
              <a:rPr lang="en-US" altLang="zh-CN" sz="2800" b="1" dirty="0">
                <a:solidFill>
                  <a:schemeClr val="bg1"/>
                </a:solidFill>
              </a:rPr>
              <a:t>(RR)</a:t>
            </a:r>
            <a:r>
              <a:rPr lang="zh-CN" altLang="en-US" sz="2800" b="1" dirty="0">
                <a:solidFill>
                  <a:schemeClr val="bg1"/>
                </a:solidFill>
              </a:rPr>
              <a:t>调度算法</a:t>
            </a:r>
          </a:p>
        </p:txBody>
      </p:sp>
      <p:grpSp>
        <p:nvGrpSpPr>
          <p:cNvPr id="58" name="21764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340631" y="1102952"/>
            <a:ext cx="11510737" cy="4492298"/>
            <a:chOff x="673100" y="1929384"/>
            <a:chExt cx="11510737" cy="4492298"/>
          </a:xfrm>
        </p:grpSpPr>
        <p:sp>
          <p:nvSpPr>
            <p:cNvPr id="59" name="ïsḷîḋê"/>
            <p:cNvSpPr/>
            <p:nvPr/>
          </p:nvSpPr>
          <p:spPr>
            <a:xfrm>
              <a:off x="673100" y="1929384"/>
              <a:ext cx="10845800" cy="2125980"/>
            </a:xfrm>
            <a:prstGeom prst="rightArrow">
              <a:avLst>
                <a:gd name="adj1" fmla="val 50000"/>
                <a:gd name="adj2" fmla="val 42258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60" name="ïṩḻíḑe"/>
            <p:cNvSpPr/>
            <p:nvPr/>
          </p:nvSpPr>
          <p:spPr>
            <a:xfrm rot="2700000">
              <a:off x="1148317" y="2189617"/>
              <a:ext cx="1605516" cy="1605516"/>
            </a:xfrm>
            <a:custGeom>
              <a:avLst/>
              <a:gdLst>
                <a:gd name="connsiteX0" fmla="*/ 135628 w 1605516"/>
                <a:gd name="connsiteY0" fmla="*/ 135628 h 1605516"/>
                <a:gd name="connsiteX1" fmla="*/ 463063 w 1605516"/>
                <a:gd name="connsiteY1" fmla="*/ 0 h 1605516"/>
                <a:gd name="connsiteX2" fmla="*/ 1142453 w 1605516"/>
                <a:gd name="connsiteY2" fmla="*/ 0 h 1605516"/>
                <a:gd name="connsiteX3" fmla="*/ 1605516 w 1605516"/>
                <a:gd name="connsiteY3" fmla="*/ 463063 h 1605516"/>
                <a:gd name="connsiteX4" fmla="*/ 1605516 w 1605516"/>
                <a:gd name="connsiteY4" fmla="*/ 1142453 h 1605516"/>
                <a:gd name="connsiteX5" fmla="*/ 1142453 w 1605516"/>
                <a:gd name="connsiteY5" fmla="*/ 1605516 h 1605516"/>
                <a:gd name="connsiteX6" fmla="*/ 463063 w 1605516"/>
                <a:gd name="connsiteY6" fmla="*/ 1605516 h 1605516"/>
                <a:gd name="connsiteX7" fmla="*/ 282818 w 1605516"/>
                <a:gd name="connsiteY7" fmla="*/ 1569126 h 1605516"/>
                <a:gd name="connsiteX8" fmla="*/ 247355 w 1605516"/>
                <a:gd name="connsiteY8" fmla="*/ 1549878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637 w 1605516"/>
                <a:gd name="connsiteY14" fmla="*/ 1358159 h 1605516"/>
                <a:gd name="connsiteX15" fmla="*/ 36390 w 1605516"/>
                <a:gd name="connsiteY15" fmla="*/ 1322698 h 1605516"/>
                <a:gd name="connsiteX16" fmla="*/ 0 w 1605516"/>
                <a:gd name="connsiteY16" fmla="*/ 1142453 h 1605516"/>
                <a:gd name="connsiteX17" fmla="*/ 0 w 1605516"/>
                <a:gd name="connsiteY17" fmla="*/ 463063 h 1605516"/>
                <a:gd name="connsiteX18" fmla="*/ 135628 w 1605516"/>
                <a:gd name="connsiteY18" fmla="*/ 135628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628" y="135628"/>
                  </a:moveTo>
                  <a:cubicBezTo>
                    <a:pt x="219426" y="51830"/>
                    <a:pt x="335192" y="0"/>
                    <a:pt x="463063" y="0"/>
                  </a:cubicBezTo>
                  <a:lnTo>
                    <a:pt x="1142453" y="0"/>
                  </a:lnTo>
                  <a:cubicBezTo>
                    <a:pt x="1398196" y="0"/>
                    <a:pt x="1605516" y="207320"/>
                    <a:pt x="1605516" y="463063"/>
                  </a:cubicBezTo>
                  <a:lnTo>
                    <a:pt x="1605516" y="1142453"/>
                  </a:lnTo>
                  <a:cubicBezTo>
                    <a:pt x="1605516" y="1398196"/>
                    <a:pt x="1398196" y="1605516"/>
                    <a:pt x="1142453" y="1605516"/>
                  </a:cubicBezTo>
                  <a:lnTo>
                    <a:pt x="463063" y="1605516"/>
                  </a:lnTo>
                  <a:cubicBezTo>
                    <a:pt x="399127" y="1605516"/>
                    <a:pt x="338218" y="1592559"/>
                    <a:pt x="282818" y="1569126"/>
                  </a:cubicBezTo>
                  <a:lnTo>
                    <a:pt x="247355" y="1549878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637" y="1358159"/>
                  </a:lnTo>
                  <a:lnTo>
                    <a:pt x="36390" y="1322698"/>
                  </a:lnTo>
                  <a:cubicBezTo>
                    <a:pt x="12957" y="1267298"/>
                    <a:pt x="0" y="1206389"/>
                    <a:pt x="0" y="1142453"/>
                  </a:cubicBezTo>
                  <a:lnTo>
                    <a:pt x="0" y="463063"/>
                  </a:lnTo>
                  <a:cubicBezTo>
                    <a:pt x="0" y="335192"/>
                    <a:pt x="51830" y="219426"/>
                    <a:pt x="135628" y="135628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61" name="is1íḑe"/>
            <p:cNvSpPr/>
            <p:nvPr/>
          </p:nvSpPr>
          <p:spPr>
            <a:xfrm rot="2700000">
              <a:off x="3911600" y="2189617"/>
              <a:ext cx="1605516" cy="1605516"/>
            </a:xfrm>
            <a:custGeom>
              <a:avLst/>
              <a:gdLst>
                <a:gd name="connsiteX0" fmla="*/ 135459 w 1605516"/>
                <a:gd name="connsiteY0" fmla="*/ 135459 h 1605516"/>
                <a:gd name="connsiteX1" fmla="*/ 462485 w 1605516"/>
                <a:gd name="connsiteY1" fmla="*/ 0 h 1605516"/>
                <a:gd name="connsiteX2" fmla="*/ 1143031 w 1605516"/>
                <a:gd name="connsiteY2" fmla="*/ 0 h 1605516"/>
                <a:gd name="connsiteX3" fmla="*/ 1605516 w 1605516"/>
                <a:gd name="connsiteY3" fmla="*/ 462485 h 1605516"/>
                <a:gd name="connsiteX4" fmla="*/ 1605516 w 1605516"/>
                <a:gd name="connsiteY4" fmla="*/ 1143031 h 1605516"/>
                <a:gd name="connsiteX5" fmla="*/ 1143031 w 1605516"/>
                <a:gd name="connsiteY5" fmla="*/ 1605516 h 1605516"/>
                <a:gd name="connsiteX6" fmla="*/ 462485 w 1605516"/>
                <a:gd name="connsiteY6" fmla="*/ 1605516 h 1605516"/>
                <a:gd name="connsiteX7" fmla="*/ 282465 w 1605516"/>
                <a:gd name="connsiteY7" fmla="*/ 1569172 h 1605516"/>
                <a:gd name="connsiteX8" fmla="*/ 247202 w 1605516"/>
                <a:gd name="connsiteY8" fmla="*/ 1550031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84 w 1605516"/>
                <a:gd name="connsiteY14" fmla="*/ 1358313 h 1605516"/>
                <a:gd name="connsiteX15" fmla="*/ 36345 w 1605516"/>
                <a:gd name="connsiteY15" fmla="*/ 1323051 h 1605516"/>
                <a:gd name="connsiteX16" fmla="*/ 0 w 1605516"/>
                <a:gd name="connsiteY16" fmla="*/ 1143031 h 1605516"/>
                <a:gd name="connsiteX17" fmla="*/ 0 w 1605516"/>
                <a:gd name="connsiteY17" fmla="*/ 462485 h 1605516"/>
                <a:gd name="connsiteX18" fmla="*/ 135459 w 1605516"/>
                <a:gd name="connsiteY18" fmla="*/ 135459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59" y="135459"/>
                  </a:moveTo>
                  <a:cubicBezTo>
                    <a:pt x="219152" y="51765"/>
                    <a:pt x="334773" y="0"/>
                    <a:pt x="462485" y="0"/>
                  </a:cubicBezTo>
                  <a:lnTo>
                    <a:pt x="1143031" y="0"/>
                  </a:lnTo>
                  <a:cubicBezTo>
                    <a:pt x="1398454" y="0"/>
                    <a:pt x="1605516" y="207062"/>
                    <a:pt x="1605516" y="462485"/>
                  </a:cubicBezTo>
                  <a:lnTo>
                    <a:pt x="1605516" y="1143031"/>
                  </a:lnTo>
                  <a:cubicBezTo>
                    <a:pt x="1605516" y="1398454"/>
                    <a:pt x="1398454" y="1605516"/>
                    <a:pt x="1143031" y="1605516"/>
                  </a:cubicBezTo>
                  <a:lnTo>
                    <a:pt x="462485" y="1605516"/>
                  </a:lnTo>
                  <a:cubicBezTo>
                    <a:pt x="398629" y="1605516"/>
                    <a:pt x="337796" y="1592575"/>
                    <a:pt x="282465" y="1569172"/>
                  </a:cubicBezTo>
                  <a:lnTo>
                    <a:pt x="247202" y="1550031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84" y="1358313"/>
                  </a:lnTo>
                  <a:lnTo>
                    <a:pt x="36345" y="1323051"/>
                  </a:lnTo>
                  <a:cubicBezTo>
                    <a:pt x="12941" y="1267720"/>
                    <a:pt x="0" y="1206887"/>
                    <a:pt x="0" y="1143031"/>
                  </a:cubicBezTo>
                  <a:lnTo>
                    <a:pt x="0" y="462485"/>
                  </a:lnTo>
                  <a:cubicBezTo>
                    <a:pt x="0" y="334773"/>
                    <a:pt x="51765" y="219152"/>
                    <a:pt x="135459" y="13545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62" name="íṡ1ïḋé"/>
            <p:cNvSpPr/>
            <p:nvPr/>
          </p:nvSpPr>
          <p:spPr>
            <a:xfrm rot="2700000">
              <a:off x="6674883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7 w 1605516"/>
                <a:gd name="connsiteY7" fmla="*/ 1569179 h 1605516"/>
                <a:gd name="connsiteX8" fmla="*/ 247177 w 1605516"/>
                <a:gd name="connsiteY8" fmla="*/ 1550057 h 1605516"/>
                <a:gd name="connsiteX9" fmla="*/ 706899 w 1605516"/>
                <a:gd name="connsiteY9" fmla="*/ 1090335 h 1605516"/>
                <a:gd name="connsiteX10" fmla="*/ 802758 w 1605516"/>
                <a:gd name="connsiteY10" fmla="*/ 1186194 h 1605516"/>
                <a:gd name="connsiteX11" fmla="*/ 802758 w 1605516"/>
                <a:gd name="connsiteY11" fmla="*/ 802758 h 1605516"/>
                <a:gd name="connsiteX12" fmla="*/ 419322 w 1605516"/>
                <a:gd name="connsiteY12" fmla="*/ 802758 h 1605516"/>
                <a:gd name="connsiteX13" fmla="*/ 515181 w 1605516"/>
                <a:gd name="connsiteY13" fmla="*/ 898617 h 1605516"/>
                <a:gd name="connsiteX14" fmla="*/ 55459 w 1605516"/>
                <a:gd name="connsiteY14" fmla="*/ 1358339 h 1605516"/>
                <a:gd name="connsiteX15" fmla="*/ 36337 w 1605516"/>
                <a:gd name="connsiteY15" fmla="*/ 1323109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6" y="1605516"/>
                    <a:pt x="337726" y="1592577"/>
                    <a:pt x="282407" y="1569179"/>
                  </a:cubicBezTo>
                  <a:lnTo>
                    <a:pt x="247177" y="1550057"/>
                  </a:lnTo>
                  <a:lnTo>
                    <a:pt x="706899" y="1090335"/>
                  </a:lnTo>
                  <a:lnTo>
                    <a:pt x="802758" y="1186194"/>
                  </a:lnTo>
                  <a:lnTo>
                    <a:pt x="802758" y="802758"/>
                  </a:lnTo>
                  <a:lnTo>
                    <a:pt x="419322" y="802758"/>
                  </a:lnTo>
                  <a:lnTo>
                    <a:pt x="515181" y="898617"/>
                  </a:lnTo>
                  <a:lnTo>
                    <a:pt x="55459" y="1358339"/>
                  </a:lnTo>
                  <a:lnTo>
                    <a:pt x="36337" y="1323109"/>
                  </a:lnTo>
                  <a:cubicBezTo>
                    <a:pt x="12939" y="1267790"/>
                    <a:pt x="0" y="1206970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63" name="îṡlíḓè"/>
            <p:cNvSpPr/>
            <p:nvPr/>
          </p:nvSpPr>
          <p:spPr>
            <a:xfrm rot="2700000">
              <a:off x="9438167" y="2189617"/>
              <a:ext cx="1605516" cy="1605516"/>
            </a:xfrm>
            <a:custGeom>
              <a:avLst/>
              <a:gdLst>
                <a:gd name="connsiteX0" fmla="*/ 135431 w 1605516"/>
                <a:gd name="connsiteY0" fmla="*/ 135431 h 1605516"/>
                <a:gd name="connsiteX1" fmla="*/ 462389 w 1605516"/>
                <a:gd name="connsiteY1" fmla="*/ 0 h 1605516"/>
                <a:gd name="connsiteX2" fmla="*/ 1143127 w 1605516"/>
                <a:gd name="connsiteY2" fmla="*/ 0 h 1605516"/>
                <a:gd name="connsiteX3" fmla="*/ 1605516 w 1605516"/>
                <a:gd name="connsiteY3" fmla="*/ 462389 h 1605516"/>
                <a:gd name="connsiteX4" fmla="*/ 1605516 w 1605516"/>
                <a:gd name="connsiteY4" fmla="*/ 1143127 h 1605516"/>
                <a:gd name="connsiteX5" fmla="*/ 1143127 w 1605516"/>
                <a:gd name="connsiteY5" fmla="*/ 1605516 h 1605516"/>
                <a:gd name="connsiteX6" fmla="*/ 462389 w 1605516"/>
                <a:gd name="connsiteY6" fmla="*/ 1605516 h 1605516"/>
                <a:gd name="connsiteX7" fmla="*/ 282406 w 1605516"/>
                <a:gd name="connsiteY7" fmla="*/ 1569179 h 1605516"/>
                <a:gd name="connsiteX8" fmla="*/ 247176 w 1605516"/>
                <a:gd name="connsiteY8" fmla="*/ 1550057 h 1605516"/>
                <a:gd name="connsiteX9" fmla="*/ 706898 w 1605516"/>
                <a:gd name="connsiteY9" fmla="*/ 1090334 h 1605516"/>
                <a:gd name="connsiteX10" fmla="*/ 802757 w 1605516"/>
                <a:gd name="connsiteY10" fmla="*/ 1186193 h 1605516"/>
                <a:gd name="connsiteX11" fmla="*/ 802757 w 1605516"/>
                <a:gd name="connsiteY11" fmla="*/ 802757 h 1605516"/>
                <a:gd name="connsiteX12" fmla="*/ 419322 w 1605516"/>
                <a:gd name="connsiteY12" fmla="*/ 802757 h 1605516"/>
                <a:gd name="connsiteX13" fmla="*/ 515181 w 1605516"/>
                <a:gd name="connsiteY13" fmla="*/ 898616 h 1605516"/>
                <a:gd name="connsiteX14" fmla="*/ 55459 w 1605516"/>
                <a:gd name="connsiteY14" fmla="*/ 1358338 h 1605516"/>
                <a:gd name="connsiteX15" fmla="*/ 36337 w 1605516"/>
                <a:gd name="connsiteY15" fmla="*/ 1323110 h 1605516"/>
                <a:gd name="connsiteX16" fmla="*/ 0 w 1605516"/>
                <a:gd name="connsiteY16" fmla="*/ 1143127 h 1605516"/>
                <a:gd name="connsiteX17" fmla="*/ 0 w 1605516"/>
                <a:gd name="connsiteY17" fmla="*/ 462389 h 1605516"/>
                <a:gd name="connsiteX18" fmla="*/ 135431 w 1605516"/>
                <a:gd name="connsiteY18" fmla="*/ 135431 h 160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05516" h="1605516">
                  <a:moveTo>
                    <a:pt x="135431" y="135431"/>
                  </a:moveTo>
                  <a:cubicBezTo>
                    <a:pt x="219107" y="51755"/>
                    <a:pt x="334704" y="0"/>
                    <a:pt x="462389" y="0"/>
                  </a:cubicBezTo>
                  <a:lnTo>
                    <a:pt x="1143127" y="0"/>
                  </a:lnTo>
                  <a:cubicBezTo>
                    <a:pt x="1398497" y="0"/>
                    <a:pt x="1605516" y="207019"/>
                    <a:pt x="1605516" y="462389"/>
                  </a:cubicBezTo>
                  <a:lnTo>
                    <a:pt x="1605516" y="1143127"/>
                  </a:lnTo>
                  <a:cubicBezTo>
                    <a:pt x="1605516" y="1398497"/>
                    <a:pt x="1398497" y="1605516"/>
                    <a:pt x="1143127" y="1605516"/>
                  </a:cubicBezTo>
                  <a:lnTo>
                    <a:pt x="462389" y="1605516"/>
                  </a:lnTo>
                  <a:cubicBezTo>
                    <a:pt x="398547" y="1605516"/>
                    <a:pt x="337726" y="1592577"/>
                    <a:pt x="282406" y="1569179"/>
                  </a:cubicBezTo>
                  <a:lnTo>
                    <a:pt x="247176" y="1550057"/>
                  </a:lnTo>
                  <a:lnTo>
                    <a:pt x="706898" y="1090334"/>
                  </a:lnTo>
                  <a:lnTo>
                    <a:pt x="802757" y="1186193"/>
                  </a:lnTo>
                  <a:lnTo>
                    <a:pt x="802757" y="802757"/>
                  </a:lnTo>
                  <a:lnTo>
                    <a:pt x="419322" y="802757"/>
                  </a:lnTo>
                  <a:lnTo>
                    <a:pt x="515181" y="898616"/>
                  </a:lnTo>
                  <a:lnTo>
                    <a:pt x="55459" y="1358338"/>
                  </a:lnTo>
                  <a:lnTo>
                    <a:pt x="36337" y="1323110"/>
                  </a:lnTo>
                  <a:cubicBezTo>
                    <a:pt x="12939" y="1267790"/>
                    <a:pt x="0" y="1206969"/>
                    <a:pt x="0" y="1143127"/>
                  </a:cubicBezTo>
                  <a:lnTo>
                    <a:pt x="0" y="462389"/>
                  </a:lnTo>
                  <a:cubicBezTo>
                    <a:pt x="0" y="334704"/>
                    <a:pt x="51755" y="219107"/>
                    <a:pt x="135431" y="1354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65" name="isľîdê"/>
            <p:cNvSpPr txBox="1"/>
            <p:nvPr/>
          </p:nvSpPr>
          <p:spPr>
            <a:xfrm>
              <a:off x="873884" y="4127645"/>
              <a:ext cx="2091530" cy="19314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ctr">
                <a:lnSpc>
                  <a:spcPct val="120000"/>
                </a:lnSpc>
                <a:buClr>
                  <a:srgbClr val="FF0000"/>
                </a:buClr>
              </a:pPr>
              <a:r>
                <a:rPr lang="zh-CN" altLang="en-US" sz="2400" dirty="0"/>
                <a:t>专为分时系统设计，类似于</a:t>
              </a:r>
              <a:r>
                <a:rPr lang="en-US" altLang="zh-CN" sz="2400" dirty="0"/>
                <a:t>FCFS</a:t>
              </a:r>
              <a:r>
                <a:rPr lang="zh-CN" altLang="en-US" sz="2400" dirty="0"/>
                <a:t>，但增加了抢占</a:t>
              </a:r>
            </a:p>
          </p:txBody>
        </p:sp>
        <p:sp>
          <p:nvSpPr>
            <p:cNvPr id="69" name="îṣḻidé"/>
            <p:cNvSpPr txBox="1"/>
            <p:nvPr/>
          </p:nvSpPr>
          <p:spPr>
            <a:xfrm>
              <a:off x="19606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1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70" name="ïŝ1ïḋè"/>
            <p:cNvSpPr txBox="1"/>
            <p:nvPr/>
          </p:nvSpPr>
          <p:spPr>
            <a:xfrm>
              <a:off x="4741597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2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71" name="í$lîdé"/>
            <p:cNvSpPr txBox="1"/>
            <p:nvPr/>
          </p:nvSpPr>
          <p:spPr>
            <a:xfrm>
              <a:off x="7522530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3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72" name="išḻïďè"/>
            <p:cNvSpPr txBox="1"/>
            <p:nvPr/>
          </p:nvSpPr>
          <p:spPr>
            <a:xfrm>
              <a:off x="10303464" y="2605404"/>
              <a:ext cx="708108" cy="6782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3200" b="1" i="1" dirty="0">
                  <a:solidFill>
                    <a:schemeClr val="bg1"/>
                  </a:solidFill>
                </a:rPr>
                <a:t>04</a:t>
              </a:r>
              <a:endParaRPr lang="zh-CN" altLang="en-US" sz="3200" b="1" i="1" dirty="0">
                <a:solidFill>
                  <a:schemeClr val="bg1"/>
                </a:solidFill>
              </a:endParaRPr>
            </a:p>
          </p:txBody>
        </p:sp>
        <p:sp>
          <p:nvSpPr>
            <p:cNvPr id="77" name="isľîdê"/>
            <p:cNvSpPr txBox="1"/>
            <p:nvPr/>
          </p:nvSpPr>
          <p:spPr>
            <a:xfrm>
              <a:off x="3458154" y="4151139"/>
              <a:ext cx="2391476" cy="22705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lvl="1">
                <a:lnSpc>
                  <a:spcPct val="120000"/>
                </a:lnSpc>
              </a:pPr>
              <a:r>
                <a:rPr lang="zh-CN" altLang="en-US" sz="2400" dirty="0"/>
                <a:t>时间片</a:t>
              </a:r>
            </a:p>
            <a:p>
              <a:pPr marL="342900" indent="-342900">
                <a:lnSpc>
                  <a:spcPct val="120000"/>
                </a:lnSpc>
                <a:buClr>
                  <a:srgbClr val="FF0000"/>
                </a:buClr>
                <a:buFont typeface="Wingdings" panose="05000000000000000000" pitchFamily="2" charset="2"/>
                <a:buChar char="Ø"/>
              </a:pPr>
              <a:r>
                <a:rPr lang="zh-CN" altLang="en-US" sz="2200" dirty="0"/>
                <a:t>小单位的</a:t>
              </a:r>
              <a:r>
                <a:rPr lang="en-US" altLang="zh-CN" sz="2200" dirty="0"/>
                <a:t>CPU</a:t>
              </a:r>
              <a:r>
                <a:rPr lang="zh-CN" altLang="en-US" sz="2200" dirty="0"/>
                <a:t>时间，通常为</a:t>
              </a:r>
              <a:r>
                <a:rPr lang="en-US" altLang="zh-CN" sz="2200" dirty="0"/>
                <a:t>10~100</a:t>
              </a:r>
              <a:r>
                <a:rPr lang="zh-CN" altLang="en-US" sz="2200" dirty="0"/>
                <a:t>毫秒</a:t>
              </a:r>
            </a:p>
          </p:txBody>
        </p:sp>
        <p:sp>
          <p:nvSpPr>
            <p:cNvPr id="78" name="isľîdê"/>
            <p:cNvSpPr txBox="1"/>
            <p:nvPr/>
          </p:nvSpPr>
          <p:spPr>
            <a:xfrm>
              <a:off x="6015106" y="4159915"/>
              <a:ext cx="2893652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>
                <a:lnSpc>
                  <a:spcPct val="120000"/>
                </a:lnSpc>
                <a:buClr>
                  <a:srgbClr val="0000FF"/>
                </a:buClr>
              </a:pPr>
              <a:r>
                <a:rPr lang="zh-CN" altLang="en-US" sz="2400" dirty="0"/>
                <a:t>为每个进程分配不超过一个时间片的</a:t>
              </a:r>
              <a:r>
                <a:rPr lang="en-US" altLang="zh-CN" sz="2400" dirty="0"/>
                <a:t>CPU</a:t>
              </a:r>
              <a:r>
                <a:rPr lang="zh-CN" altLang="en-US" sz="2400" dirty="0"/>
                <a:t>。</a:t>
              </a:r>
              <a:r>
                <a:rPr lang="zh-CN" altLang="en-US" sz="2400" dirty="0">
                  <a:solidFill>
                    <a:srgbClr val="FF0000"/>
                  </a:solidFill>
                </a:rPr>
                <a:t>时间片用完后，该进程将被抢占并插入就绪队列末尾，循环执行</a:t>
              </a:r>
            </a:p>
          </p:txBody>
        </p:sp>
        <p:sp>
          <p:nvSpPr>
            <p:cNvPr id="79" name="isľîdê"/>
            <p:cNvSpPr txBox="1"/>
            <p:nvPr/>
          </p:nvSpPr>
          <p:spPr>
            <a:xfrm>
              <a:off x="8979319" y="4151140"/>
              <a:ext cx="3204518" cy="1461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>
                <a:lnSpc>
                  <a:spcPct val="120000"/>
                </a:lnSpc>
                <a:buClr>
                  <a:srgbClr val="0000FF"/>
                </a:buClr>
              </a:pPr>
              <a:r>
                <a:rPr lang="zh-CN" altLang="en-US" sz="2400" dirty="0"/>
                <a:t>假定就绪队列中有</a:t>
              </a:r>
              <a:r>
                <a:rPr lang="en-US" altLang="zh-CN" sz="2400" dirty="0"/>
                <a:t>n</a:t>
              </a:r>
              <a:r>
                <a:rPr lang="zh-CN" altLang="en-US" sz="2400" dirty="0"/>
                <a:t>个进程、时间片为</a:t>
              </a:r>
              <a:r>
                <a:rPr lang="en-US" altLang="zh-CN" sz="2400" dirty="0"/>
                <a:t>q, </a:t>
              </a:r>
              <a:r>
                <a:rPr lang="zh-CN" altLang="en-US" sz="2400" dirty="0"/>
                <a:t>则每个进程每次得到</a:t>
              </a:r>
              <a:r>
                <a:rPr lang="en-US" altLang="zh-CN" sz="2400" dirty="0"/>
                <a:t>1/n</a:t>
              </a:r>
              <a:r>
                <a:rPr lang="zh-CN" altLang="en-US" sz="2400" dirty="0"/>
                <a:t>的、不超过</a:t>
              </a:r>
              <a:r>
                <a:rPr lang="en-US" altLang="zh-CN" sz="2400" dirty="0"/>
                <a:t>q</a:t>
              </a:r>
              <a:r>
                <a:rPr lang="zh-CN" altLang="en-US" sz="2400" dirty="0"/>
                <a:t>单位的成块</a:t>
              </a:r>
              <a:r>
                <a:rPr lang="en-US" altLang="zh-CN" sz="2400" dirty="0"/>
                <a:t>CPU</a:t>
              </a:r>
              <a:r>
                <a:rPr lang="zh-CN" altLang="en-US" sz="2400" dirty="0"/>
                <a:t>时间，没有任何一个进程的等待时间会超过</a:t>
              </a:r>
              <a:r>
                <a:rPr lang="en-US" altLang="zh-CN" sz="2400" dirty="0"/>
                <a:t>(n-1) q</a:t>
              </a:r>
              <a:r>
                <a:rPr lang="zh-CN" altLang="en-US" sz="2400" dirty="0"/>
                <a:t>单位</a:t>
              </a:r>
            </a:p>
          </p:txBody>
        </p:sp>
      </p:grp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时间片为</a:t>
            </a:r>
            <a:r>
              <a:rPr lang="en-US" altLang="zh-CN" sz="2800" b="1" dirty="0">
                <a:solidFill>
                  <a:schemeClr val="bg1"/>
                </a:solidFill>
              </a:rPr>
              <a:t>20</a:t>
            </a:r>
            <a:r>
              <a:rPr lang="zh-CN" altLang="en-US" sz="2800" b="1" dirty="0">
                <a:solidFill>
                  <a:schemeClr val="bg1"/>
                </a:solidFill>
              </a:rPr>
              <a:t>的</a:t>
            </a:r>
            <a:r>
              <a:rPr lang="en-US" altLang="zh-CN" sz="2800" b="1" dirty="0">
                <a:solidFill>
                  <a:schemeClr val="bg1"/>
                </a:solidFill>
              </a:rPr>
              <a:t>RR</a:t>
            </a:r>
            <a:r>
              <a:rPr lang="zh-CN" altLang="en-US" sz="2800" b="1" dirty="0">
                <a:solidFill>
                  <a:schemeClr val="bg1"/>
                </a:solidFill>
              </a:rPr>
              <a:t>例子</a:t>
            </a:r>
          </a:p>
        </p:txBody>
      </p:sp>
      <p:sp>
        <p:nvSpPr>
          <p:cNvPr id="23" name="文本框 22"/>
          <p:cNvSpPr txBox="1"/>
          <p:nvPr/>
        </p:nvSpPr>
        <p:spPr>
          <a:xfrm>
            <a:off x="571729" y="1407861"/>
            <a:ext cx="3884862" cy="2267544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buClr>
                <a:srgbClr val="FF0000"/>
              </a:buClr>
              <a:defRPr/>
            </a:pPr>
            <a:r>
              <a:rPr lang="zh-CN" altLang="en-US" sz="2400" dirty="0"/>
              <a:t>进程	</a:t>
            </a:r>
            <a:r>
              <a:rPr lang="en-US" altLang="zh-CN" sz="2400" dirty="0"/>
              <a:t>	</a:t>
            </a:r>
            <a:r>
              <a:rPr lang="zh-CN" altLang="en-US" sz="2400" dirty="0"/>
              <a:t>运行时间</a:t>
            </a:r>
          </a:p>
          <a:p>
            <a:pPr>
              <a:lnSpc>
                <a:spcPct val="120000"/>
              </a:lnSpc>
              <a:buClr>
                <a:srgbClr val="FF0000"/>
              </a:buClr>
              <a:defRPr/>
            </a:pPr>
            <a:r>
              <a:rPr lang="en-US" altLang="zh-CN" sz="2400" dirty="0"/>
              <a:t>P1		23</a:t>
            </a:r>
          </a:p>
          <a:p>
            <a:pPr>
              <a:lnSpc>
                <a:spcPct val="120000"/>
              </a:lnSpc>
              <a:buClr>
                <a:srgbClr val="FF0000"/>
              </a:buClr>
              <a:defRPr/>
            </a:pPr>
            <a:r>
              <a:rPr lang="en-US" altLang="zh-CN" sz="2400" dirty="0"/>
              <a:t>P2	 	17</a:t>
            </a:r>
          </a:p>
          <a:p>
            <a:pPr>
              <a:lnSpc>
                <a:spcPct val="120000"/>
              </a:lnSpc>
              <a:buClr>
                <a:srgbClr val="FF0000"/>
              </a:buClr>
              <a:defRPr/>
            </a:pPr>
            <a:r>
              <a:rPr lang="en-US" altLang="zh-CN" sz="2400" dirty="0"/>
              <a:t>P3		46</a:t>
            </a:r>
          </a:p>
          <a:p>
            <a:pPr>
              <a:lnSpc>
                <a:spcPct val="120000"/>
              </a:lnSpc>
              <a:buClr>
                <a:srgbClr val="FF0000"/>
              </a:buClr>
              <a:defRPr/>
            </a:pPr>
            <a:r>
              <a:rPr lang="en-US" altLang="zh-CN" sz="2400" dirty="0"/>
              <a:t>P4	 	24</a:t>
            </a:r>
          </a:p>
        </p:txBody>
      </p:sp>
      <p:sp>
        <p:nvSpPr>
          <p:cNvPr id="26" name="内容占位符 2"/>
          <p:cNvSpPr txBox="1"/>
          <p:nvPr/>
        </p:nvSpPr>
        <p:spPr>
          <a:xfrm>
            <a:off x="4712930" y="1234507"/>
            <a:ext cx="2507776" cy="60020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467995">
              <a:lnSpc>
                <a:spcPct val="132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400" dirty="0"/>
              <a:t>Gantt</a:t>
            </a:r>
            <a:r>
              <a:rPr lang="zh-CN" altLang="en-US" sz="2400" dirty="0"/>
              <a:t>图如下：</a:t>
            </a:r>
          </a:p>
        </p:txBody>
      </p:sp>
      <p:grpSp>
        <p:nvGrpSpPr>
          <p:cNvPr id="29" name="组合 28"/>
          <p:cNvGrpSpPr/>
          <p:nvPr/>
        </p:nvGrpSpPr>
        <p:grpSpPr>
          <a:xfrm>
            <a:off x="4669056" y="2076572"/>
            <a:ext cx="7288139" cy="1483400"/>
            <a:chOff x="1578266" y="4039154"/>
            <a:chExt cx="4858579" cy="988897"/>
          </a:xfrm>
          <a:solidFill>
            <a:srgbClr val="FFFF00"/>
          </a:solidFill>
        </p:grpSpPr>
        <p:sp>
          <p:nvSpPr>
            <p:cNvPr id="32" name="Rectangle 4"/>
            <p:cNvSpPr>
              <a:spLocks noChangeArrowheads="1"/>
            </p:cNvSpPr>
            <p:nvPr/>
          </p:nvSpPr>
          <p:spPr bwMode="auto">
            <a:xfrm>
              <a:off x="1698625" y="4039154"/>
              <a:ext cx="563880" cy="609601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defRPr/>
              </a:pPr>
              <a:r>
                <a:rPr lang="en-US" altLang="zh-CN" sz="2600" dirty="0"/>
                <a:t>P</a:t>
              </a:r>
              <a:r>
                <a:rPr lang="en-US" altLang="zh-CN" sz="2600" baseline="-25000" dirty="0"/>
                <a:t>1</a:t>
              </a:r>
              <a:endParaRPr lang="en-US" altLang="zh-CN" sz="2600" dirty="0"/>
            </a:p>
          </p:txBody>
        </p:sp>
        <p:sp>
          <p:nvSpPr>
            <p:cNvPr id="35" name="Rectangle 5"/>
            <p:cNvSpPr>
              <a:spLocks noChangeArrowheads="1"/>
            </p:cNvSpPr>
            <p:nvPr/>
          </p:nvSpPr>
          <p:spPr bwMode="auto">
            <a:xfrm>
              <a:off x="2262505" y="4039154"/>
              <a:ext cx="563880" cy="609601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defRPr/>
              </a:pPr>
              <a:r>
                <a:rPr lang="en-US" altLang="zh-CN" sz="2600" dirty="0"/>
                <a:t>P</a:t>
              </a:r>
              <a:r>
                <a:rPr lang="en-US" altLang="zh-CN" sz="2600" baseline="-25000" dirty="0"/>
                <a:t>2</a:t>
              </a:r>
            </a:p>
          </p:txBody>
        </p:sp>
        <p:sp>
          <p:nvSpPr>
            <p:cNvPr id="40" name="Rectangle 6"/>
            <p:cNvSpPr>
              <a:spLocks noChangeArrowheads="1"/>
            </p:cNvSpPr>
            <p:nvPr/>
          </p:nvSpPr>
          <p:spPr bwMode="auto">
            <a:xfrm>
              <a:off x="2826385" y="4039154"/>
              <a:ext cx="563880" cy="609601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defRPr/>
              </a:pPr>
              <a:r>
                <a:rPr lang="en-US" altLang="zh-CN" sz="2600"/>
                <a:t>P</a:t>
              </a:r>
              <a:r>
                <a:rPr lang="en-US" altLang="zh-CN" sz="2600" baseline="-25000"/>
                <a:t>3</a:t>
              </a:r>
            </a:p>
          </p:txBody>
        </p:sp>
        <p:sp>
          <p:nvSpPr>
            <p:cNvPr id="41" name="Rectangle 7"/>
            <p:cNvSpPr>
              <a:spLocks noChangeArrowheads="1"/>
            </p:cNvSpPr>
            <p:nvPr/>
          </p:nvSpPr>
          <p:spPr bwMode="auto">
            <a:xfrm>
              <a:off x="3390265" y="4039154"/>
              <a:ext cx="563880" cy="609601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defRPr/>
              </a:pPr>
              <a:r>
                <a:rPr lang="en-US" altLang="zh-CN" sz="2600"/>
                <a:t>P</a:t>
              </a:r>
              <a:r>
                <a:rPr lang="en-US" altLang="zh-CN" sz="2600" baseline="-25000"/>
                <a:t>4</a:t>
              </a:r>
            </a:p>
          </p:txBody>
        </p:sp>
        <p:sp>
          <p:nvSpPr>
            <p:cNvPr id="42" name="Rectangle 8"/>
            <p:cNvSpPr>
              <a:spLocks noChangeArrowheads="1"/>
            </p:cNvSpPr>
            <p:nvPr/>
          </p:nvSpPr>
          <p:spPr bwMode="auto">
            <a:xfrm>
              <a:off x="3954145" y="4039154"/>
              <a:ext cx="563880" cy="609601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defRPr/>
              </a:pPr>
              <a:r>
                <a:rPr lang="en-US" altLang="zh-CN" sz="2600"/>
                <a:t>P</a:t>
              </a:r>
              <a:r>
                <a:rPr lang="en-US" altLang="zh-CN" sz="2600" baseline="-25000"/>
                <a:t>1</a:t>
              </a:r>
            </a:p>
          </p:txBody>
        </p:sp>
        <p:sp>
          <p:nvSpPr>
            <p:cNvPr id="43" name="Rectangle 9"/>
            <p:cNvSpPr>
              <a:spLocks noChangeArrowheads="1"/>
            </p:cNvSpPr>
            <p:nvPr/>
          </p:nvSpPr>
          <p:spPr bwMode="auto">
            <a:xfrm>
              <a:off x="4518025" y="4039154"/>
              <a:ext cx="563880" cy="609601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defRPr/>
              </a:pPr>
              <a:r>
                <a:rPr lang="en-US" altLang="zh-CN" sz="2600"/>
                <a:t>P</a:t>
              </a:r>
              <a:r>
                <a:rPr lang="en-US" altLang="zh-CN" sz="2600" baseline="-25000"/>
                <a:t>3</a:t>
              </a:r>
            </a:p>
          </p:txBody>
        </p:sp>
        <p:sp>
          <p:nvSpPr>
            <p:cNvPr id="44" name="Rectangle 10"/>
            <p:cNvSpPr>
              <a:spLocks noChangeArrowheads="1"/>
            </p:cNvSpPr>
            <p:nvPr/>
          </p:nvSpPr>
          <p:spPr bwMode="auto">
            <a:xfrm>
              <a:off x="5081905" y="4039154"/>
              <a:ext cx="563880" cy="609601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defRPr/>
              </a:pPr>
              <a:r>
                <a:rPr lang="en-US" altLang="zh-CN" sz="2600"/>
                <a:t>P</a:t>
              </a:r>
              <a:r>
                <a:rPr lang="en-US" altLang="zh-CN" sz="2600" baseline="-25000"/>
                <a:t>4</a:t>
              </a:r>
            </a:p>
          </p:txBody>
        </p:sp>
        <p:sp>
          <p:nvSpPr>
            <p:cNvPr id="45" name="Rectangle 11"/>
            <p:cNvSpPr>
              <a:spLocks noChangeArrowheads="1"/>
            </p:cNvSpPr>
            <p:nvPr/>
          </p:nvSpPr>
          <p:spPr bwMode="auto">
            <a:xfrm>
              <a:off x="5645785" y="4039154"/>
              <a:ext cx="563880" cy="609601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defRPr/>
              </a:pPr>
              <a:r>
                <a:rPr lang="en-US" altLang="zh-CN" sz="2600" dirty="0"/>
                <a:t>P</a:t>
              </a:r>
              <a:r>
                <a:rPr lang="en-US" altLang="zh-CN" sz="2600" baseline="-25000" dirty="0"/>
                <a:t>3</a:t>
              </a:r>
            </a:p>
          </p:txBody>
        </p:sp>
        <p:sp>
          <p:nvSpPr>
            <p:cNvPr id="46" name="Text Box 15"/>
            <p:cNvSpPr txBox="1">
              <a:spLocks noChangeArrowheads="1"/>
            </p:cNvSpPr>
            <p:nvPr/>
          </p:nvSpPr>
          <p:spPr bwMode="auto">
            <a:xfrm>
              <a:off x="1578266" y="4699768"/>
              <a:ext cx="247067" cy="3282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 dirty="0"/>
                <a:t>0</a:t>
              </a:r>
            </a:p>
          </p:txBody>
        </p:sp>
        <p:sp>
          <p:nvSpPr>
            <p:cNvPr id="47" name="Text Box 16"/>
            <p:cNvSpPr txBox="1">
              <a:spLocks noChangeArrowheads="1"/>
            </p:cNvSpPr>
            <p:nvPr/>
          </p:nvSpPr>
          <p:spPr bwMode="auto">
            <a:xfrm>
              <a:off x="2049686" y="4699768"/>
              <a:ext cx="371028" cy="3282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 dirty="0"/>
                <a:t>20</a:t>
              </a:r>
            </a:p>
          </p:txBody>
        </p:sp>
        <p:sp>
          <p:nvSpPr>
            <p:cNvPr id="48" name="Text Box 17"/>
            <p:cNvSpPr txBox="1">
              <a:spLocks noChangeArrowheads="1"/>
            </p:cNvSpPr>
            <p:nvPr/>
          </p:nvSpPr>
          <p:spPr bwMode="auto">
            <a:xfrm>
              <a:off x="2583086" y="4699768"/>
              <a:ext cx="371028" cy="3282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 dirty="0"/>
                <a:t>37</a:t>
              </a:r>
            </a:p>
          </p:txBody>
        </p:sp>
        <p:sp>
          <p:nvSpPr>
            <p:cNvPr id="49" name="Text Box 18"/>
            <p:cNvSpPr txBox="1">
              <a:spLocks noChangeArrowheads="1"/>
            </p:cNvSpPr>
            <p:nvPr/>
          </p:nvSpPr>
          <p:spPr bwMode="auto">
            <a:xfrm>
              <a:off x="3186336" y="4699768"/>
              <a:ext cx="371028" cy="3282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/>
                <a:t>57</a:t>
              </a:r>
            </a:p>
          </p:txBody>
        </p:sp>
        <p:sp>
          <p:nvSpPr>
            <p:cNvPr id="50" name="Text Box 19"/>
            <p:cNvSpPr txBox="1">
              <a:spLocks noChangeArrowheads="1"/>
            </p:cNvSpPr>
            <p:nvPr/>
          </p:nvSpPr>
          <p:spPr bwMode="auto">
            <a:xfrm>
              <a:off x="3802285" y="4699768"/>
              <a:ext cx="371028" cy="3282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 dirty="0"/>
                <a:t>77</a:t>
              </a:r>
            </a:p>
          </p:txBody>
        </p:sp>
        <p:sp>
          <p:nvSpPr>
            <p:cNvPr id="51" name="Text Box 20"/>
            <p:cNvSpPr txBox="1">
              <a:spLocks noChangeArrowheads="1"/>
            </p:cNvSpPr>
            <p:nvPr/>
          </p:nvSpPr>
          <p:spPr bwMode="auto">
            <a:xfrm>
              <a:off x="4334098" y="4698180"/>
              <a:ext cx="371028" cy="3282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 dirty="0"/>
                <a:t>80</a:t>
              </a:r>
            </a:p>
          </p:txBody>
        </p:sp>
        <p:sp>
          <p:nvSpPr>
            <p:cNvPr id="52" name="Text Box 21"/>
            <p:cNvSpPr txBox="1">
              <a:spLocks noChangeArrowheads="1"/>
            </p:cNvSpPr>
            <p:nvPr/>
          </p:nvSpPr>
          <p:spPr bwMode="auto">
            <a:xfrm>
              <a:off x="4807900" y="4698180"/>
              <a:ext cx="494989" cy="3282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 dirty="0"/>
                <a:t>100</a:t>
              </a:r>
            </a:p>
          </p:txBody>
        </p:sp>
        <p:sp>
          <p:nvSpPr>
            <p:cNvPr id="53" name="Text Box 22"/>
            <p:cNvSpPr txBox="1">
              <a:spLocks noChangeArrowheads="1"/>
            </p:cNvSpPr>
            <p:nvPr/>
          </p:nvSpPr>
          <p:spPr bwMode="auto">
            <a:xfrm>
              <a:off x="5414325" y="4698180"/>
              <a:ext cx="494989" cy="3282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 dirty="0"/>
                <a:t>104</a:t>
              </a:r>
            </a:p>
          </p:txBody>
        </p:sp>
        <p:sp>
          <p:nvSpPr>
            <p:cNvPr id="54" name="Text Box 24"/>
            <p:cNvSpPr txBox="1">
              <a:spLocks noChangeArrowheads="1"/>
            </p:cNvSpPr>
            <p:nvPr/>
          </p:nvSpPr>
          <p:spPr bwMode="auto">
            <a:xfrm>
              <a:off x="5958355" y="4698180"/>
              <a:ext cx="478490" cy="3282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Helvetica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altLang="zh-CN" sz="2600" dirty="0"/>
                <a:t>110</a:t>
              </a:r>
            </a:p>
          </p:txBody>
        </p:sp>
      </p:grpSp>
      <p:sp>
        <p:nvSpPr>
          <p:cNvPr id="55" name="内容占位符 2"/>
          <p:cNvSpPr txBox="1"/>
          <p:nvPr/>
        </p:nvSpPr>
        <p:spPr>
          <a:xfrm>
            <a:off x="571728" y="4057606"/>
            <a:ext cx="10951487" cy="196562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467995">
              <a:lnSpc>
                <a:spcPct val="132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600" dirty="0"/>
              <a:t>平均等待时间：</a:t>
            </a:r>
            <a:r>
              <a:rPr lang="en-US" altLang="zh-CN" sz="2600" dirty="0"/>
              <a:t>(57+20+64+80)/4 = 55.25</a:t>
            </a:r>
          </a:p>
          <a:p>
            <a:pPr indent="-467995">
              <a:lnSpc>
                <a:spcPct val="132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600" dirty="0"/>
              <a:t>平均响应时间</a:t>
            </a:r>
            <a:r>
              <a:rPr lang="en-US" altLang="zh-CN" sz="2600" dirty="0"/>
              <a:t>: (0+20+37+57)/4= 28.5</a:t>
            </a:r>
          </a:p>
          <a:p>
            <a:pPr indent="-467995">
              <a:lnSpc>
                <a:spcPct val="132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600" dirty="0"/>
              <a:t>通常，</a:t>
            </a:r>
            <a:r>
              <a:rPr lang="en-US" altLang="zh-CN" sz="2600" dirty="0"/>
              <a:t>RR</a:t>
            </a:r>
            <a:r>
              <a:rPr lang="zh-CN" altLang="en-US" sz="2600" dirty="0"/>
              <a:t>的平均周转时间比</a:t>
            </a:r>
            <a:r>
              <a:rPr lang="en-US" altLang="zh-CN" sz="2600" dirty="0"/>
              <a:t>SJF</a:t>
            </a:r>
            <a:r>
              <a:rPr lang="zh-CN" altLang="en-US" sz="2600" dirty="0"/>
              <a:t>长，但响应时间要短一些</a:t>
            </a:r>
            <a:r>
              <a:rPr lang="en-US" altLang="zh-CN" sz="2600" dirty="0"/>
              <a:t>.</a:t>
            </a:r>
            <a:endParaRPr lang="zh-CN" altLang="en-US" sz="2600" dirty="0"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时间片大小的确定</a:t>
            </a:r>
          </a:p>
        </p:txBody>
      </p:sp>
      <p:sp>
        <p:nvSpPr>
          <p:cNvPr id="10" name="íšḻîḋè"/>
          <p:cNvSpPr/>
          <p:nvPr/>
        </p:nvSpPr>
        <p:spPr>
          <a:xfrm>
            <a:off x="1737963" y="3908548"/>
            <a:ext cx="3650781" cy="127971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系统对响应时间的要求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就绪队列中进程的数目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系统的处理能力</a:t>
            </a:r>
          </a:p>
        </p:txBody>
      </p:sp>
      <p:sp>
        <p:nvSpPr>
          <p:cNvPr id="11" name="i$lîďê"/>
          <p:cNvSpPr/>
          <p:nvPr/>
        </p:nvSpPr>
        <p:spPr>
          <a:xfrm>
            <a:off x="1751754" y="3326123"/>
            <a:ext cx="3352906" cy="57885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时间片设置应考虑</a:t>
            </a:r>
          </a:p>
        </p:txBody>
      </p:sp>
      <p:sp>
        <p:nvSpPr>
          <p:cNvPr id="12" name="ïṧḷïḋè"/>
          <p:cNvSpPr/>
          <p:nvPr/>
        </p:nvSpPr>
        <p:spPr>
          <a:xfrm>
            <a:off x="1882380" y="5372121"/>
            <a:ext cx="9454404" cy="62786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FF0000"/>
                </a:solidFill>
              </a:rPr>
              <a:t>一般准则：</a:t>
            </a:r>
            <a:r>
              <a:rPr lang="zh-CN" altLang="en-US" sz="2400" dirty="0"/>
              <a:t>时间片</a:t>
            </a:r>
            <a:r>
              <a:rPr lang="en-US" altLang="zh-CN" sz="2400" dirty="0"/>
              <a:t>/10&gt;</a:t>
            </a:r>
            <a:r>
              <a:rPr lang="zh-CN" altLang="en-US" sz="2400" dirty="0"/>
              <a:t>进程上下文切换时间</a:t>
            </a:r>
          </a:p>
        </p:txBody>
      </p:sp>
      <p:sp>
        <p:nvSpPr>
          <p:cNvPr id="14" name="íšḻíḑê"/>
          <p:cNvSpPr/>
          <p:nvPr/>
        </p:nvSpPr>
        <p:spPr>
          <a:xfrm>
            <a:off x="1793602" y="1348018"/>
            <a:ext cx="7297132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特性</a:t>
            </a:r>
          </a:p>
        </p:txBody>
      </p:sp>
      <p:sp>
        <p:nvSpPr>
          <p:cNvPr id="15" name="îSļiḓè"/>
          <p:cNvSpPr/>
          <p:nvPr/>
        </p:nvSpPr>
        <p:spPr>
          <a:xfrm>
            <a:off x="1110099" y="1236959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6" name="íṥḻîḓe"/>
          <p:cNvSpPr/>
          <p:nvPr/>
        </p:nvSpPr>
        <p:spPr>
          <a:xfrm>
            <a:off x="1110098" y="5372122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7" name="îşļiḓè"/>
          <p:cNvSpPr/>
          <p:nvPr/>
        </p:nvSpPr>
        <p:spPr>
          <a:xfrm>
            <a:off x="1110098" y="3301619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8" name="îṡḷíďe"/>
          <p:cNvSpPr/>
          <p:nvPr/>
        </p:nvSpPr>
        <p:spPr>
          <a:xfrm>
            <a:off x="1300354" y="1433097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9" name="íSlíḋe"/>
          <p:cNvSpPr/>
          <p:nvPr/>
        </p:nvSpPr>
        <p:spPr>
          <a:xfrm>
            <a:off x="1300352" y="3523636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1" name="ïśḷïḓe"/>
          <p:cNvSpPr/>
          <p:nvPr/>
        </p:nvSpPr>
        <p:spPr>
          <a:xfrm>
            <a:off x="1329291" y="5561582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3" name="íšḻîḋè"/>
          <p:cNvSpPr/>
          <p:nvPr/>
        </p:nvSpPr>
        <p:spPr>
          <a:xfrm>
            <a:off x="1793601" y="1803853"/>
            <a:ext cx="3311059" cy="104206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q </a:t>
            </a:r>
            <a:r>
              <a:rPr lang="zh-CN" altLang="en-US" sz="2200" dirty="0"/>
              <a:t>大  </a:t>
            </a:r>
            <a:r>
              <a:rPr lang="en-US" altLang="zh-CN" sz="2200" dirty="0"/>
              <a:t>FCFS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q </a:t>
            </a:r>
            <a:r>
              <a:rPr lang="zh-CN" altLang="en-US" sz="2200" dirty="0"/>
              <a:t>小 增加上下文切换的时间</a:t>
            </a:r>
          </a:p>
        </p:txBody>
      </p:sp>
      <p:pic>
        <p:nvPicPr>
          <p:cNvPr id="22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926" t="23140" r="28781" b="55464"/>
          <a:stretch>
            <a:fillRect/>
          </a:stretch>
        </p:blipFill>
        <p:spPr bwMode="auto">
          <a:xfrm>
            <a:off x="5388744" y="1433097"/>
            <a:ext cx="6403975" cy="35684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RR</a:t>
            </a:r>
            <a:r>
              <a:rPr lang="zh-CN" altLang="en-US" sz="2800" b="1" dirty="0">
                <a:solidFill>
                  <a:schemeClr val="bg1"/>
                </a:solidFill>
              </a:rPr>
              <a:t>例子</a:t>
            </a:r>
          </a:p>
        </p:txBody>
      </p:sp>
      <p:graphicFrame>
        <p:nvGraphicFramePr>
          <p:cNvPr id="23" name="Group 95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69925" y="1321447"/>
          <a:ext cx="10866654" cy="4724248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27968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376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90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878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8909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9030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7964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9611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634027">
                <a:tc rowSpan="3"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          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            </a:t>
                      </a:r>
                      <a:r>
                        <a:rPr kumimoji="1" lang="zh-CN" altLang="en-US" sz="2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作业情况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     </a:t>
                      </a:r>
                      <a:endParaRPr kumimoji="1" lang="en-US" altLang="zh-CN" sz="2400" b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   时间片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进程名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A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B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C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D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E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平均</a:t>
                      </a:r>
                      <a:endParaRPr kumimoji="1" lang="zh-CN" alt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5286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到达时间</a:t>
                      </a:r>
                      <a:endParaRPr kumimoji="1" lang="zh-CN" alt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0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4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3829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服务时间</a:t>
                      </a:r>
                      <a:endParaRPr kumimoji="1" lang="zh-CN" alt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4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4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4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3061">
                <a:tc rowSpan="3"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RR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q=1</a:t>
                      </a:r>
                      <a:endParaRPr kumimoji="1" lang="en-US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完成时间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5</a:t>
                      </a:r>
                      <a:endParaRPr kumimoji="1" lang="en-US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2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6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9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7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3061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周转时间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5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1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4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6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3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1.8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3829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带权周转时间</a:t>
                      </a:r>
                      <a:endParaRPr kumimoji="1" lang="zh-CN" alt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3.75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3.67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3.5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3.25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3.43</a:t>
                      </a:r>
                      <a:endParaRPr kumimoji="1" lang="en-US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3829">
                <a:tc rowSpan="3"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RR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q=4</a:t>
                      </a:r>
                      <a:endParaRPr kumimoji="1" lang="en-US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完成时间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4</a:t>
                      </a:r>
                      <a:endParaRPr kumimoji="1" lang="en-US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7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1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3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7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endParaRPr kumimoji="1" lang="zh-CN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5923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周转时间</a:t>
                      </a:r>
                      <a:endParaRPr kumimoji="1" lang="zh-CN" alt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4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6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9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0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3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8.4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3829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zh-CN" altLang="en-US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带权周转时间</a:t>
                      </a:r>
                      <a:endParaRPr kumimoji="1" lang="zh-CN" alt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2.25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5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3.25</a:t>
                      </a:r>
                      <a:endParaRPr kumimoji="1" lang="en-US" altLang="zh-CN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tc>
                  <a:txBody>
                    <a:bodyPr/>
                    <a:lstStyle>
                      <a:lvl1pPr>
                        <a:buFont typeface="Monotype Sorts" pitchFamily="2" charset="2"/>
                        <a:defRPr kumimoji="1" sz="2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1pPr>
                      <a:lvl2pPr>
                        <a:buClr>
                          <a:schemeClr val="tx1"/>
                        </a:buClr>
                        <a:defRPr kumimoji="1" sz="24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2pPr>
                      <a:lvl3pPr>
                        <a:buClr>
                          <a:schemeClr val="accent2"/>
                        </a:buClr>
                        <a:buSzPct val="65000"/>
                        <a:buFont typeface="Monotype Sorts" pitchFamily="2" charset="2"/>
                        <a:defRPr kumimoji="1" sz="20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3pPr>
                      <a:lvl4pPr>
                        <a:buClr>
                          <a:schemeClr val="tx1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4pPr>
                      <a:lvl5pP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defRPr kumimoji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Monotype Sorts" pitchFamily="2" charset="2"/>
                        <a:buNone/>
                      </a:pPr>
                      <a:r>
                        <a:rPr kumimoji="1" lang="en-US" altLang="zh-CN" sz="2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2.7</a:t>
                      </a:r>
                      <a:endParaRPr kumimoji="1" lang="en-US" altLang="zh-CN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2066" marR="92066" marT="34523" marB="34523" anchor="ctr" horzOverflow="overflow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cxnSp>
        <p:nvCxnSpPr>
          <p:cNvPr id="3" name="直接连接符 2"/>
          <p:cNvCxnSpPr/>
          <p:nvPr/>
        </p:nvCxnSpPr>
        <p:spPr>
          <a:xfrm>
            <a:off x="669925" y="1331650"/>
            <a:ext cx="2801244" cy="1775534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476238"/>
            <a:ext cx="4500146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  <a:ea typeface="+mj-ea"/>
              </a:rPr>
              <a:t>3.1 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  <a:ea typeface="+mj-ea"/>
              </a:rPr>
              <a:t>处理机调度概述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11441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3.2 </a:t>
            </a:r>
            <a:r>
              <a:rPr lang="zh-CN" altLang="en-US" sz="2400" dirty="0">
                <a:latin typeface="+mj-ea"/>
              </a:rPr>
              <a:t>调度算法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73353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3.3 </a:t>
            </a:r>
            <a:r>
              <a:rPr lang="zh-CN" altLang="en-US" sz="2400" dirty="0">
                <a:latin typeface="+mj-ea"/>
              </a:rPr>
              <a:t>实时调度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352663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3.4 Linux</a:t>
            </a:r>
            <a:r>
              <a:rPr lang="zh-CN" altLang="en-US" sz="2400" dirty="0">
                <a:latin typeface="+mj-ea"/>
              </a:rPr>
              <a:t>进程调度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1696469" y="3971788"/>
            <a:ext cx="547877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3.5 </a:t>
            </a:r>
            <a:r>
              <a:rPr lang="zh-CN" altLang="en-US" sz="2400" dirty="0">
                <a:latin typeface="+mj-ea"/>
              </a:rPr>
              <a:t>死锁概述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590913"/>
            <a:ext cx="368215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3.6 </a:t>
            </a:r>
            <a:r>
              <a:rPr lang="zh-CN" altLang="en-US" sz="2400" dirty="0">
                <a:latin typeface="+mj-ea"/>
              </a:rPr>
              <a:t>预防死锁</a:t>
            </a:r>
          </a:p>
        </p:txBody>
      </p:sp>
      <p:sp>
        <p:nvSpPr>
          <p:cNvPr id="29" name="矩形 28"/>
          <p:cNvSpPr/>
          <p:nvPr/>
        </p:nvSpPr>
        <p:spPr>
          <a:xfrm>
            <a:off x="1696469" y="5210038"/>
            <a:ext cx="28662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3.7 </a:t>
            </a:r>
            <a:r>
              <a:rPr lang="zh-CN" altLang="en-US" sz="2400" dirty="0">
                <a:latin typeface="+mj-ea"/>
              </a:rPr>
              <a:t>避免死锁</a:t>
            </a:r>
          </a:p>
        </p:txBody>
      </p:sp>
      <p:sp>
        <p:nvSpPr>
          <p:cNvPr id="3" name="矩形 2"/>
          <p:cNvSpPr/>
          <p:nvPr/>
        </p:nvSpPr>
        <p:spPr>
          <a:xfrm>
            <a:off x="6466113" y="2386337"/>
            <a:ext cx="519169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3</a:t>
            </a:r>
            <a:r>
              <a:rPr lang="zh-CN" altLang="en-US" sz="3600" dirty="0">
                <a:solidFill>
                  <a:srgbClr val="000000"/>
                </a:solidFill>
              </a:rPr>
              <a:t>章 处理机调度与死锁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6640497" y="3190471"/>
            <a:ext cx="490662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4392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02436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67983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29831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92439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56210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516282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33" name="矩形 32"/>
          <p:cNvSpPr/>
          <p:nvPr/>
        </p:nvSpPr>
        <p:spPr>
          <a:xfrm>
            <a:off x="1696468" y="5863246"/>
            <a:ext cx="421914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3.8 </a:t>
            </a:r>
            <a:r>
              <a:rPr lang="zh-CN" altLang="en-US" sz="2400" dirty="0">
                <a:latin typeface="+mj-ea"/>
              </a:rPr>
              <a:t>死锁的检测与解除</a:t>
            </a:r>
          </a:p>
        </p:txBody>
      </p:sp>
      <p:pic>
        <p:nvPicPr>
          <p:cNvPr id="34" name="图片 3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7" y="58160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多级队列调度算法</a:t>
            </a:r>
          </a:p>
        </p:txBody>
      </p:sp>
      <p:sp>
        <p:nvSpPr>
          <p:cNvPr id="10" name="íšḻîḋè"/>
          <p:cNvSpPr/>
          <p:nvPr/>
        </p:nvSpPr>
        <p:spPr>
          <a:xfrm>
            <a:off x="1496942" y="2851192"/>
            <a:ext cx="3650781" cy="53161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前台 </a:t>
            </a:r>
            <a:r>
              <a:rPr lang="en-US" altLang="zh-CN" sz="2200" dirty="0"/>
              <a:t>– RR</a:t>
            </a:r>
          </a:p>
        </p:txBody>
      </p:sp>
      <p:sp>
        <p:nvSpPr>
          <p:cNvPr id="11" name="i$lîďê"/>
          <p:cNvSpPr/>
          <p:nvPr/>
        </p:nvSpPr>
        <p:spPr>
          <a:xfrm>
            <a:off x="1499157" y="2221839"/>
            <a:ext cx="4264855" cy="57885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每个队列有自己的调度算法</a:t>
            </a:r>
          </a:p>
        </p:txBody>
      </p:sp>
      <p:sp>
        <p:nvSpPr>
          <p:cNvPr id="12" name="ïṧḷïḋè"/>
          <p:cNvSpPr/>
          <p:nvPr/>
        </p:nvSpPr>
        <p:spPr>
          <a:xfrm>
            <a:off x="1499157" y="3439402"/>
            <a:ext cx="3920246" cy="62786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调度须在队列间进行</a:t>
            </a:r>
          </a:p>
        </p:txBody>
      </p:sp>
      <p:sp>
        <p:nvSpPr>
          <p:cNvPr id="14" name="íšḻíḑê"/>
          <p:cNvSpPr/>
          <p:nvPr/>
        </p:nvSpPr>
        <p:spPr>
          <a:xfrm>
            <a:off x="1499157" y="1194357"/>
            <a:ext cx="7297132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就绪队列从一个分为多个，如</a:t>
            </a:r>
            <a:r>
              <a:rPr lang="en-US" altLang="zh-CN" sz="2400" dirty="0"/>
              <a:t>:</a:t>
            </a:r>
          </a:p>
        </p:txBody>
      </p:sp>
      <p:sp>
        <p:nvSpPr>
          <p:cNvPr id="15" name="îSļiḓè"/>
          <p:cNvSpPr/>
          <p:nvPr/>
        </p:nvSpPr>
        <p:spPr>
          <a:xfrm>
            <a:off x="726876" y="1077158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6" name="íṥḻîḓe"/>
          <p:cNvSpPr/>
          <p:nvPr/>
        </p:nvSpPr>
        <p:spPr>
          <a:xfrm>
            <a:off x="726875" y="3439403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7" name="îşļiḓè"/>
          <p:cNvSpPr/>
          <p:nvPr/>
        </p:nvSpPr>
        <p:spPr>
          <a:xfrm>
            <a:off x="726875" y="2207803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8" name="îṡḷíďe"/>
          <p:cNvSpPr/>
          <p:nvPr/>
        </p:nvSpPr>
        <p:spPr>
          <a:xfrm>
            <a:off x="917131" y="1273296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9" name="íSlíḋe"/>
          <p:cNvSpPr/>
          <p:nvPr/>
        </p:nvSpPr>
        <p:spPr>
          <a:xfrm>
            <a:off x="917129" y="2429820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1" name="ïśḷïḓe"/>
          <p:cNvSpPr/>
          <p:nvPr/>
        </p:nvSpPr>
        <p:spPr>
          <a:xfrm>
            <a:off x="946068" y="3628863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3" name="íšḻîḋè"/>
          <p:cNvSpPr/>
          <p:nvPr/>
        </p:nvSpPr>
        <p:spPr>
          <a:xfrm>
            <a:off x="1499157" y="1650932"/>
            <a:ext cx="3311059" cy="50357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前台</a:t>
            </a:r>
            <a:r>
              <a:rPr lang="en-US" altLang="zh-CN" sz="2200" dirty="0"/>
              <a:t>[</a:t>
            </a:r>
            <a:r>
              <a:rPr lang="zh-CN" altLang="en-US" sz="2200" dirty="0"/>
              <a:t>交互式</a:t>
            </a:r>
            <a:r>
              <a:rPr lang="en-US" altLang="zh-CN" sz="2200" dirty="0"/>
              <a:t>]</a:t>
            </a:r>
          </a:p>
        </p:txBody>
      </p:sp>
      <p:pic>
        <p:nvPicPr>
          <p:cNvPr id="23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3707" y="910948"/>
            <a:ext cx="3920246" cy="5237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íšḻîḋè"/>
          <p:cNvSpPr/>
          <p:nvPr/>
        </p:nvSpPr>
        <p:spPr>
          <a:xfrm>
            <a:off x="1499157" y="4067269"/>
            <a:ext cx="6197043" cy="246638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固定优先级调度，即前台运行完后再运行后台，有可能产生饥饿。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给定时间片调度，即每个队列得到一定的</a:t>
            </a:r>
            <a:r>
              <a:rPr lang="en-US" altLang="zh-CN" sz="2200" dirty="0"/>
              <a:t>CPU</a:t>
            </a:r>
            <a:r>
              <a:rPr lang="zh-CN" altLang="en-US" sz="2200" dirty="0"/>
              <a:t>时间，进程在给定时间内执行；如</a:t>
            </a:r>
            <a:r>
              <a:rPr lang="en-US" altLang="zh-CN" sz="2200" dirty="0"/>
              <a:t>80%</a:t>
            </a:r>
            <a:r>
              <a:rPr lang="zh-CN" altLang="en-US" sz="2200" dirty="0"/>
              <a:t>的时间执行前台的</a:t>
            </a:r>
            <a:r>
              <a:rPr lang="en-US" altLang="zh-CN" sz="2200" dirty="0"/>
              <a:t>RR</a:t>
            </a:r>
            <a:r>
              <a:rPr lang="zh-CN" altLang="en-US" sz="2200" dirty="0"/>
              <a:t>调度，</a:t>
            </a:r>
            <a:r>
              <a:rPr lang="en-US" altLang="zh-CN" sz="2200" dirty="0"/>
              <a:t>20%</a:t>
            </a:r>
            <a:r>
              <a:rPr lang="zh-CN" altLang="en-US" sz="2200" dirty="0"/>
              <a:t>的时间执行后台的</a:t>
            </a:r>
            <a:r>
              <a:rPr lang="en-US" altLang="zh-CN" sz="2200" dirty="0"/>
              <a:t>FCFS</a:t>
            </a:r>
            <a:r>
              <a:rPr lang="zh-CN" altLang="en-US" sz="2200" dirty="0"/>
              <a:t>调度</a:t>
            </a:r>
          </a:p>
        </p:txBody>
      </p:sp>
      <p:sp>
        <p:nvSpPr>
          <p:cNvPr id="25" name="íšḻîḋè"/>
          <p:cNvSpPr/>
          <p:nvPr/>
        </p:nvSpPr>
        <p:spPr>
          <a:xfrm>
            <a:off x="4070727" y="1650092"/>
            <a:ext cx="3311059" cy="55030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后台</a:t>
            </a:r>
            <a:r>
              <a:rPr lang="en-US" altLang="zh-CN" sz="2200" dirty="0"/>
              <a:t>[</a:t>
            </a:r>
            <a:r>
              <a:rPr lang="zh-CN" altLang="en-US" sz="2200" dirty="0"/>
              <a:t>批处理</a:t>
            </a:r>
            <a:r>
              <a:rPr lang="en-US" altLang="zh-CN" sz="2200" dirty="0"/>
              <a:t>]</a:t>
            </a:r>
          </a:p>
        </p:txBody>
      </p:sp>
      <p:sp>
        <p:nvSpPr>
          <p:cNvPr id="26" name="íšḻîḋè"/>
          <p:cNvSpPr/>
          <p:nvPr/>
        </p:nvSpPr>
        <p:spPr>
          <a:xfrm>
            <a:off x="4095674" y="2868025"/>
            <a:ext cx="3650781" cy="53161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后台 </a:t>
            </a:r>
            <a:r>
              <a:rPr lang="en-US" altLang="zh-CN" sz="2200" dirty="0"/>
              <a:t>– FCFS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多级反馈队列调度算法</a:t>
            </a:r>
          </a:p>
        </p:txBody>
      </p:sp>
      <p:sp>
        <p:nvSpPr>
          <p:cNvPr id="10" name="íšḻîḋè"/>
          <p:cNvSpPr/>
          <p:nvPr/>
        </p:nvSpPr>
        <p:spPr>
          <a:xfrm>
            <a:off x="1737964" y="2789142"/>
            <a:ext cx="9163816" cy="127971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短进程优先的调度算法，仅照顾了短进程而忽略了长进程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如果并未指明进程的长度，则短进程优先和基于进程长度的抢占式调度算法都将无法使用。</a:t>
            </a:r>
          </a:p>
        </p:txBody>
      </p:sp>
      <p:sp>
        <p:nvSpPr>
          <p:cNvPr id="11" name="i$lîďê"/>
          <p:cNvSpPr/>
          <p:nvPr/>
        </p:nvSpPr>
        <p:spPr>
          <a:xfrm>
            <a:off x="1793602" y="2220716"/>
            <a:ext cx="5146196" cy="57885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其他调度算法的局限性</a:t>
            </a:r>
          </a:p>
        </p:txBody>
      </p:sp>
      <p:sp>
        <p:nvSpPr>
          <p:cNvPr id="12" name="ïṧḷïḋè"/>
          <p:cNvSpPr/>
          <p:nvPr/>
        </p:nvSpPr>
        <p:spPr>
          <a:xfrm>
            <a:off x="1882381" y="4252715"/>
            <a:ext cx="9454404" cy="62786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FF0000"/>
                </a:solidFill>
              </a:rPr>
              <a:t>优点：</a:t>
            </a:r>
          </a:p>
        </p:txBody>
      </p:sp>
      <p:sp>
        <p:nvSpPr>
          <p:cNvPr id="14" name="íšḻíḑê"/>
          <p:cNvSpPr/>
          <p:nvPr/>
        </p:nvSpPr>
        <p:spPr>
          <a:xfrm>
            <a:off x="1793602" y="1348018"/>
            <a:ext cx="7297132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FF0000"/>
                </a:solidFill>
              </a:rPr>
              <a:t>进程能在不同的队列间移动</a:t>
            </a:r>
          </a:p>
        </p:txBody>
      </p:sp>
      <p:sp>
        <p:nvSpPr>
          <p:cNvPr id="15" name="îSļiḓè"/>
          <p:cNvSpPr/>
          <p:nvPr/>
        </p:nvSpPr>
        <p:spPr>
          <a:xfrm>
            <a:off x="1110099" y="1236959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6" name="íṥḻîḓe"/>
          <p:cNvSpPr/>
          <p:nvPr/>
        </p:nvSpPr>
        <p:spPr>
          <a:xfrm>
            <a:off x="1110099" y="425271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7" name="îşļiḓè"/>
          <p:cNvSpPr/>
          <p:nvPr/>
        </p:nvSpPr>
        <p:spPr>
          <a:xfrm>
            <a:off x="1110099" y="2182213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8" name="îṡḷíďe"/>
          <p:cNvSpPr/>
          <p:nvPr/>
        </p:nvSpPr>
        <p:spPr>
          <a:xfrm>
            <a:off x="1300354" y="1433097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9" name="íSlíḋe"/>
          <p:cNvSpPr/>
          <p:nvPr/>
        </p:nvSpPr>
        <p:spPr>
          <a:xfrm>
            <a:off x="1300353" y="2404230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1" name="ïśḷïḓe"/>
          <p:cNvSpPr/>
          <p:nvPr/>
        </p:nvSpPr>
        <p:spPr>
          <a:xfrm>
            <a:off x="1329292" y="444217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3" name="íšḻîḋè"/>
          <p:cNvSpPr/>
          <p:nvPr/>
        </p:nvSpPr>
        <p:spPr>
          <a:xfrm>
            <a:off x="1882381" y="4869282"/>
            <a:ext cx="9163816" cy="106988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不必事先知道各种进程所需的执行时间；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可以满足各种类型进程的需要。</a:t>
            </a: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多级反馈队列例子</a:t>
            </a:r>
          </a:p>
        </p:txBody>
      </p:sp>
      <p:pic>
        <p:nvPicPr>
          <p:cNvPr id="22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" t="12209" r="537" b="12032"/>
          <a:stretch>
            <a:fillRect/>
          </a:stretch>
        </p:blipFill>
        <p:spPr bwMode="auto">
          <a:xfrm>
            <a:off x="349959" y="1737127"/>
            <a:ext cx="4928155" cy="34868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7758" y="1525460"/>
            <a:ext cx="6184097" cy="39101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基于公平原则的调度算法</a:t>
            </a:r>
          </a:p>
        </p:txBody>
      </p:sp>
      <p:sp>
        <p:nvSpPr>
          <p:cNvPr id="11" name="íšḻîḋè"/>
          <p:cNvSpPr/>
          <p:nvPr/>
        </p:nvSpPr>
        <p:spPr>
          <a:xfrm>
            <a:off x="1746844" y="3046724"/>
            <a:ext cx="10344542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FF0000"/>
                </a:solidFill>
              </a:rPr>
              <a:t>性能保证</a:t>
            </a:r>
            <a:r>
              <a:rPr lang="zh-CN" altLang="en-US" sz="2400" dirty="0"/>
              <a:t>，而非优先运行；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如保证处理机分配的公平性（处理机时间为</a:t>
            </a:r>
            <a:r>
              <a:rPr lang="en-US" altLang="zh-CN" sz="2400" dirty="0"/>
              <a:t>1/n</a:t>
            </a:r>
            <a:r>
              <a:rPr lang="zh-CN" altLang="en-US" sz="2400" dirty="0"/>
              <a:t>）。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endParaRPr lang="zh-CN" altLang="en-US" sz="2400" dirty="0"/>
          </a:p>
        </p:txBody>
      </p:sp>
      <p:sp>
        <p:nvSpPr>
          <p:cNvPr id="12" name="i$lîďê"/>
          <p:cNvSpPr/>
          <p:nvPr/>
        </p:nvSpPr>
        <p:spPr>
          <a:xfrm>
            <a:off x="1802479" y="2516555"/>
            <a:ext cx="4882406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800" dirty="0">
                <a:solidFill>
                  <a:srgbClr val="FF0000"/>
                </a:solidFill>
              </a:rPr>
              <a:t>保证调度算法：</a:t>
            </a:r>
          </a:p>
        </p:txBody>
      </p:sp>
      <p:sp>
        <p:nvSpPr>
          <p:cNvPr id="13" name="î$ļíḋè"/>
          <p:cNvSpPr/>
          <p:nvPr/>
        </p:nvSpPr>
        <p:spPr>
          <a:xfrm>
            <a:off x="1802477" y="4747839"/>
            <a:ext cx="10155743" cy="104040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调度的公平性主要</a:t>
            </a:r>
            <a:r>
              <a:rPr lang="zh-CN" altLang="en-US" sz="2400" dirty="0">
                <a:solidFill>
                  <a:srgbClr val="0000FF"/>
                </a:solidFill>
              </a:rPr>
              <a:t>针对用户而言；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使所有用户能获得相同的处理机时间或时间比例。</a:t>
            </a:r>
          </a:p>
        </p:txBody>
      </p:sp>
      <p:sp>
        <p:nvSpPr>
          <p:cNvPr id="14" name="ïṧḷïḋè"/>
          <p:cNvSpPr/>
          <p:nvPr/>
        </p:nvSpPr>
        <p:spPr>
          <a:xfrm>
            <a:off x="1802478" y="4235064"/>
            <a:ext cx="4882406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800" dirty="0">
                <a:solidFill>
                  <a:srgbClr val="0000FF"/>
                </a:solidFill>
              </a:rPr>
              <a:t>公平分享</a:t>
            </a:r>
            <a:r>
              <a:rPr lang="zh-CN" altLang="en-US" sz="2800" dirty="0"/>
              <a:t>调度算法：</a:t>
            </a:r>
          </a:p>
        </p:txBody>
      </p:sp>
      <p:sp>
        <p:nvSpPr>
          <p:cNvPr id="16" name="íšḻíḑê"/>
          <p:cNvSpPr/>
          <p:nvPr/>
        </p:nvSpPr>
        <p:spPr>
          <a:xfrm>
            <a:off x="1802479" y="1469877"/>
            <a:ext cx="4882406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800" dirty="0"/>
              <a:t>主要考虑调度的公平性。</a:t>
            </a:r>
          </a:p>
        </p:txBody>
      </p:sp>
      <p:sp>
        <p:nvSpPr>
          <p:cNvPr id="17" name="îSļiḓè"/>
          <p:cNvSpPr/>
          <p:nvPr/>
        </p:nvSpPr>
        <p:spPr>
          <a:xfrm>
            <a:off x="1118977" y="1347994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8" name="íṥḻîḓe"/>
          <p:cNvSpPr/>
          <p:nvPr/>
        </p:nvSpPr>
        <p:spPr>
          <a:xfrm>
            <a:off x="1118974" y="4152462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9" name="îşļiḓè"/>
          <p:cNvSpPr/>
          <p:nvPr/>
        </p:nvSpPr>
        <p:spPr>
          <a:xfrm>
            <a:off x="1118977" y="2416029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1" name="îṡḷíďe"/>
          <p:cNvSpPr/>
          <p:nvPr/>
        </p:nvSpPr>
        <p:spPr>
          <a:xfrm>
            <a:off x="1309232" y="1544132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2" name="íSlíḋe"/>
          <p:cNvSpPr/>
          <p:nvPr/>
        </p:nvSpPr>
        <p:spPr>
          <a:xfrm>
            <a:off x="1309231" y="2638046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3" name="ïśḷïḓe"/>
          <p:cNvSpPr/>
          <p:nvPr/>
        </p:nvSpPr>
        <p:spPr>
          <a:xfrm>
            <a:off x="1338167" y="4341922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47623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  <a:ea typeface="+mj-ea"/>
              </a:rPr>
              <a:t>3.1 </a:t>
            </a:r>
            <a:r>
              <a:rPr lang="zh-CN" altLang="en-US" sz="2400" dirty="0">
                <a:latin typeface="+mj-ea"/>
                <a:ea typeface="+mj-ea"/>
              </a:rPr>
              <a:t>处理机调度概述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11441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3.2 </a:t>
            </a:r>
            <a:r>
              <a:rPr lang="zh-CN" altLang="en-US" sz="2400" dirty="0">
                <a:latin typeface="+mj-ea"/>
              </a:rPr>
              <a:t>调度算法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73353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</a:rPr>
              <a:t>3.3 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</a:rPr>
              <a:t>实时调度</a:t>
            </a:r>
            <a:endParaRPr lang="en-US" altLang="zh-CN" sz="2400" b="1" dirty="0">
              <a:solidFill>
                <a:srgbClr val="0000FF"/>
              </a:solidFill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352663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3.4 Linux</a:t>
            </a:r>
            <a:r>
              <a:rPr lang="zh-CN" altLang="en-US" sz="2400" dirty="0">
                <a:latin typeface="+mj-ea"/>
              </a:rPr>
              <a:t>进程调度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1696469" y="3971788"/>
            <a:ext cx="547877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3.5 </a:t>
            </a:r>
            <a:r>
              <a:rPr lang="zh-CN" altLang="en-US" sz="2400" dirty="0">
                <a:latin typeface="+mj-ea"/>
              </a:rPr>
              <a:t>死锁概述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590913"/>
            <a:ext cx="368215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3.6 </a:t>
            </a:r>
            <a:r>
              <a:rPr lang="zh-CN" altLang="en-US" sz="2400" dirty="0">
                <a:latin typeface="+mj-ea"/>
              </a:rPr>
              <a:t>预防死锁</a:t>
            </a:r>
          </a:p>
        </p:txBody>
      </p:sp>
      <p:sp>
        <p:nvSpPr>
          <p:cNvPr id="29" name="矩形 28"/>
          <p:cNvSpPr/>
          <p:nvPr/>
        </p:nvSpPr>
        <p:spPr>
          <a:xfrm>
            <a:off x="1696469" y="5210038"/>
            <a:ext cx="28662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3.7 </a:t>
            </a:r>
            <a:r>
              <a:rPr lang="zh-CN" altLang="en-US" sz="2400" dirty="0">
                <a:latin typeface="+mj-ea"/>
              </a:rPr>
              <a:t>避免死锁</a:t>
            </a:r>
          </a:p>
        </p:txBody>
      </p:sp>
      <p:sp>
        <p:nvSpPr>
          <p:cNvPr id="3" name="矩形 2"/>
          <p:cNvSpPr/>
          <p:nvPr/>
        </p:nvSpPr>
        <p:spPr>
          <a:xfrm>
            <a:off x="6466113" y="2386337"/>
            <a:ext cx="519169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3</a:t>
            </a:r>
            <a:r>
              <a:rPr lang="zh-CN" altLang="en-US" sz="3600" dirty="0">
                <a:solidFill>
                  <a:srgbClr val="000000"/>
                </a:solidFill>
              </a:rPr>
              <a:t>章 处理机调度与死锁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6640497" y="3190471"/>
            <a:ext cx="490662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4392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02436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67983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29831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92439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56210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516282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33" name="矩形 32"/>
          <p:cNvSpPr/>
          <p:nvPr/>
        </p:nvSpPr>
        <p:spPr>
          <a:xfrm>
            <a:off x="1696468" y="5863246"/>
            <a:ext cx="421914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3.8 </a:t>
            </a:r>
            <a:r>
              <a:rPr lang="zh-CN" altLang="en-US" sz="2400" dirty="0">
                <a:latin typeface="+mj-ea"/>
              </a:rPr>
              <a:t>死锁的检测与解除</a:t>
            </a:r>
          </a:p>
        </p:txBody>
      </p:sp>
      <p:pic>
        <p:nvPicPr>
          <p:cNvPr id="34" name="图片 3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7" y="58160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基于公平原则的调度算法</a:t>
            </a:r>
          </a:p>
        </p:txBody>
      </p:sp>
      <p:sp>
        <p:nvSpPr>
          <p:cNvPr id="11" name="ïşľîďè"/>
          <p:cNvSpPr/>
          <p:nvPr/>
        </p:nvSpPr>
        <p:spPr>
          <a:xfrm>
            <a:off x="259042" y="1214021"/>
            <a:ext cx="4669654" cy="5003800"/>
          </a:xfrm>
          <a:prstGeom prst="rect">
            <a:avLst/>
          </a:prstGeom>
          <a:blipFill>
            <a:blip r:embed="rId2"/>
            <a:stretch>
              <a:fillRect l="-30450" r="-30284"/>
            </a:stretch>
          </a:blip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12" name="îŝļiḋe"/>
          <p:cNvSpPr/>
          <p:nvPr/>
        </p:nvSpPr>
        <p:spPr>
          <a:xfrm>
            <a:off x="4271749" y="1214021"/>
            <a:ext cx="656948" cy="5003800"/>
          </a:xfrm>
          <a:prstGeom prst="rect">
            <a:avLst/>
          </a:prstGeom>
          <a:solidFill>
            <a:schemeClr val="accent1">
              <a:alpha val="70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13" name="í$1iďè"/>
          <p:cNvGrpSpPr/>
          <p:nvPr/>
        </p:nvGrpSpPr>
        <p:grpSpPr>
          <a:xfrm>
            <a:off x="4396037" y="1491768"/>
            <a:ext cx="7381904" cy="1002148"/>
            <a:chOff x="4136995" y="1408047"/>
            <a:chExt cx="7381904" cy="1002148"/>
          </a:xfrm>
        </p:grpSpPr>
        <p:sp>
          <p:nvSpPr>
            <p:cNvPr id="14" name="îslîďê"/>
            <p:cNvSpPr/>
            <p:nvPr/>
          </p:nvSpPr>
          <p:spPr>
            <a:xfrm>
              <a:off x="4136995" y="1712614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ïSḻiḍé"/>
            <p:cNvSpPr txBox="1"/>
            <p:nvPr/>
          </p:nvSpPr>
          <p:spPr>
            <a:xfrm>
              <a:off x="4882718" y="1408047"/>
              <a:ext cx="6636181" cy="100214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ts val="600"/>
                </a:spcBef>
                <a:defRPr/>
              </a:pPr>
              <a:r>
                <a:rPr lang="zh-CN" altLang="en-US" sz="2400" dirty="0"/>
                <a:t>实时调度是针对实时任务的调度</a:t>
              </a:r>
            </a:p>
          </p:txBody>
        </p:sp>
      </p:grpSp>
      <p:grpSp>
        <p:nvGrpSpPr>
          <p:cNvPr id="16" name="išḷîḓé"/>
          <p:cNvGrpSpPr/>
          <p:nvPr/>
        </p:nvGrpSpPr>
        <p:grpSpPr>
          <a:xfrm>
            <a:off x="4396037" y="3073347"/>
            <a:ext cx="7536922" cy="801176"/>
            <a:chOff x="4136995" y="3233565"/>
            <a:chExt cx="7536922" cy="801176"/>
          </a:xfrm>
        </p:grpSpPr>
        <p:sp>
          <p:nvSpPr>
            <p:cNvPr id="17" name="íśľïḋé"/>
            <p:cNvSpPr/>
            <p:nvPr/>
          </p:nvSpPr>
          <p:spPr>
            <a:xfrm>
              <a:off x="4136995" y="3450237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8" name="îŝľîḓè"/>
            <p:cNvSpPr txBox="1"/>
            <p:nvPr/>
          </p:nvSpPr>
          <p:spPr>
            <a:xfrm>
              <a:off x="4882719" y="3233565"/>
              <a:ext cx="6791198" cy="80117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zh-CN" altLang="en-US" sz="2400" dirty="0"/>
                <a:t>实时任务，都联系着一个截止时间</a:t>
              </a:r>
            </a:p>
            <a:p>
              <a:pPr marL="342900" indent="-342900">
                <a:lnSpc>
                  <a:spcPct val="13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硬实时</a:t>
              </a:r>
              <a:r>
                <a:rPr lang="en-US" altLang="zh-CN" sz="2400" dirty="0">
                  <a:solidFill>
                    <a:srgbClr val="0000FF"/>
                  </a:solidFill>
                </a:rPr>
                <a:t>HRT</a:t>
              </a:r>
              <a:r>
                <a:rPr lang="zh-CN" altLang="en-US" sz="2400" dirty="0"/>
                <a:t>任务</a:t>
              </a:r>
            </a:p>
            <a:p>
              <a:pPr marL="342900" indent="-342900">
                <a:lnSpc>
                  <a:spcPct val="130000"/>
                </a:lnSpc>
                <a:buClr>
                  <a:srgbClr val="0000FF"/>
                </a:buClr>
                <a:buFont typeface="Wingdings" panose="05000000000000000000" pitchFamily="2" charset="2"/>
                <a:buChar char="Ø"/>
              </a:pPr>
              <a:r>
                <a:rPr lang="zh-CN" altLang="en-US" sz="2400" dirty="0"/>
                <a:t>软实时</a:t>
              </a:r>
              <a:r>
                <a:rPr lang="en-US" altLang="zh-CN" sz="2400" dirty="0">
                  <a:solidFill>
                    <a:srgbClr val="FF0000"/>
                  </a:solidFill>
                </a:rPr>
                <a:t>SRT</a:t>
              </a:r>
              <a:r>
                <a:rPr lang="zh-CN" altLang="en-US" sz="2400" dirty="0"/>
                <a:t>任务</a:t>
              </a:r>
            </a:p>
          </p:txBody>
        </p:sp>
      </p:grpSp>
      <p:grpSp>
        <p:nvGrpSpPr>
          <p:cNvPr id="19" name="ïSlíḍê"/>
          <p:cNvGrpSpPr/>
          <p:nvPr/>
        </p:nvGrpSpPr>
        <p:grpSpPr>
          <a:xfrm>
            <a:off x="4396037" y="4451663"/>
            <a:ext cx="7637467" cy="1311067"/>
            <a:chOff x="4136995" y="4714289"/>
            <a:chExt cx="7637467" cy="1311067"/>
          </a:xfrm>
        </p:grpSpPr>
        <p:sp>
          <p:nvSpPr>
            <p:cNvPr id="21" name="ïsľíḓê"/>
            <p:cNvSpPr/>
            <p:nvPr/>
          </p:nvSpPr>
          <p:spPr>
            <a:xfrm>
              <a:off x="4136995" y="5187860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íṧļîḋê"/>
            <p:cNvSpPr txBox="1"/>
            <p:nvPr/>
          </p:nvSpPr>
          <p:spPr>
            <a:xfrm>
              <a:off x="4882717" y="4714289"/>
              <a:ext cx="6891745" cy="131106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ts val="600"/>
                </a:spcBef>
                <a:defRPr/>
              </a:pPr>
              <a:r>
                <a:rPr lang="zh-CN" altLang="en-US" sz="2400" dirty="0"/>
                <a:t>实时调度应具备一定的条件</a:t>
              </a:r>
            </a:p>
          </p:txBody>
        </p:sp>
      </p:grp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实现实时调度的基本条件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81725" y="1331757"/>
            <a:ext cx="2971175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altLang="zh-CN" sz="2400" dirty="0"/>
              <a:t>1. </a:t>
            </a:r>
            <a:r>
              <a:rPr lang="zh-CN" altLang="en-US" sz="2400" dirty="0"/>
              <a:t>提供必要的信息</a:t>
            </a:r>
            <a:endParaRPr lang="en-US" altLang="zh-CN" sz="2400" dirty="0"/>
          </a:p>
        </p:txBody>
      </p:sp>
      <p:sp>
        <p:nvSpPr>
          <p:cNvPr id="6" name="内容占位符 2"/>
          <p:cNvSpPr txBox="1"/>
          <p:nvPr/>
        </p:nvSpPr>
        <p:spPr>
          <a:xfrm>
            <a:off x="881725" y="2054341"/>
            <a:ext cx="5161266" cy="1567744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就绪时间、开始截止时间和完成截止时间、处理时间、资源要求、优先级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altLang="zh-CN" sz="2400" dirty="0"/>
              <a:t>3. </a:t>
            </a:r>
            <a:r>
              <a:rPr lang="zh-CN" altLang="en-US" sz="2400" dirty="0"/>
              <a:t>采用抢占式调度机制</a:t>
            </a:r>
            <a:endParaRPr lang="en-US" altLang="zh-CN" sz="2400" dirty="0"/>
          </a:p>
        </p:txBody>
      </p:sp>
      <p:sp>
        <p:nvSpPr>
          <p:cNvPr id="8" name="内容占位符 2"/>
          <p:cNvSpPr txBox="1"/>
          <p:nvPr/>
        </p:nvSpPr>
        <p:spPr>
          <a:xfrm>
            <a:off x="6723321" y="4001670"/>
            <a:ext cx="4978348" cy="127325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对中断具有快速响应能力</a:t>
            </a:r>
          </a:p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快速的任务分派能力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6042991" y="5512904"/>
            <a:ext cx="565867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6042991" y="5711687"/>
            <a:ext cx="565867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矩形: 圆角 10"/>
          <p:cNvSpPr/>
          <p:nvPr/>
        </p:nvSpPr>
        <p:spPr>
          <a:xfrm>
            <a:off x="881725" y="3774309"/>
            <a:ext cx="2971175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altLang="zh-CN" sz="2400" dirty="0"/>
              <a:t>2. </a:t>
            </a:r>
            <a:r>
              <a:rPr lang="zh-CN" altLang="en-US" sz="2400" dirty="0"/>
              <a:t>系统处理能力强</a:t>
            </a:r>
            <a:endParaRPr lang="en-US" altLang="zh-CN" sz="2400" dirty="0"/>
          </a:p>
        </p:txBody>
      </p:sp>
      <p:sp>
        <p:nvSpPr>
          <p:cNvPr id="12" name="内容占位符 2"/>
          <p:cNvSpPr txBox="1"/>
          <p:nvPr/>
        </p:nvSpPr>
        <p:spPr>
          <a:xfrm>
            <a:off x="881725" y="4496893"/>
            <a:ext cx="4009870" cy="1567744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单处理机系统，满足</a:t>
            </a:r>
          </a:p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endParaRPr lang="en-US" altLang="zh-CN" sz="2400" dirty="0"/>
          </a:p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/>
              <a:t>多处理机系统，满足</a:t>
            </a:r>
          </a:p>
        </p:txBody>
      </p:sp>
      <p:sp>
        <p:nvSpPr>
          <p:cNvPr id="15" name="矩形: 圆角 4"/>
          <p:cNvSpPr/>
          <p:nvPr/>
        </p:nvSpPr>
        <p:spPr>
          <a:xfrm>
            <a:off x="6723321" y="3220151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altLang="zh-CN" sz="2400" dirty="0"/>
              <a:t>4. </a:t>
            </a:r>
            <a:r>
              <a:rPr lang="zh-CN" altLang="en-US" sz="2400" dirty="0"/>
              <a:t>采用快速切换机制</a:t>
            </a:r>
            <a:endParaRPr lang="en-US" altLang="zh-CN" sz="2400" dirty="0"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实时调度算法分类</a:t>
            </a:r>
          </a:p>
        </p:txBody>
      </p:sp>
      <p:sp>
        <p:nvSpPr>
          <p:cNvPr id="13" name="íSľïdé"/>
          <p:cNvSpPr/>
          <p:nvPr/>
        </p:nvSpPr>
        <p:spPr>
          <a:xfrm>
            <a:off x="2066725" y="2144541"/>
            <a:ext cx="567702" cy="511936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200" kern="1200"/>
          </a:p>
        </p:txBody>
      </p:sp>
      <p:sp>
        <p:nvSpPr>
          <p:cNvPr id="14" name="ïŝļíḓê"/>
          <p:cNvSpPr/>
          <p:nvPr/>
        </p:nvSpPr>
        <p:spPr bwMode="auto">
          <a:xfrm>
            <a:off x="8849090" y="2776389"/>
            <a:ext cx="556774" cy="553604"/>
          </a:xfrm>
          <a:custGeom>
            <a:avLst/>
            <a:gdLst>
              <a:gd name="T0" fmla="*/ 3682 w 4808"/>
              <a:gd name="T1" fmla="*/ 2763 h 4789"/>
              <a:gd name="T2" fmla="*/ 3420 w 4808"/>
              <a:gd name="T3" fmla="*/ 2703 h 4789"/>
              <a:gd name="T4" fmla="*/ 3026 w 4808"/>
              <a:gd name="T5" fmla="*/ 2392 h 4789"/>
              <a:gd name="T6" fmla="*/ 2818 w 4808"/>
              <a:gd name="T7" fmla="*/ 2517 h 4789"/>
              <a:gd name="T8" fmla="*/ 3219 w 4808"/>
              <a:gd name="T9" fmla="*/ 1876 h 4789"/>
              <a:gd name="T10" fmla="*/ 3609 w 4808"/>
              <a:gd name="T11" fmla="*/ 1953 h 4789"/>
              <a:gd name="T12" fmla="*/ 4553 w 4808"/>
              <a:gd name="T13" fmla="*/ 720 h 4789"/>
              <a:gd name="T14" fmla="*/ 4388 w 4808"/>
              <a:gd name="T15" fmla="*/ 680 h 4789"/>
              <a:gd name="T16" fmla="*/ 3872 w 4808"/>
              <a:gd name="T17" fmla="*/ 1161 h 4789"/>
              <a:gd name="T18" fmla="*/ 3859 w 4808"/>
              <a:gd name="T19" fmla="*/ 1160 h 4789"/>
              <a:gd name="T20" fmla="*/ 3491 w 4808"/>
              <a:gd name="T21" fmla="*/ 1099 h 4789"/>
              <a:gd name="T22" fmla="*/ 3432 w 4808"/>
              <a:gd name="T23" fmla="*/ 731 h 4789"/>
              <a:gd name="T24" fmla="*/ 3454 w 4808"/>
              <a:gd name="T25" fmla="*/ 658 h 4789"/>
              <a:gd name="T26" fmla="*/ 3938 w 4808"/>
              <a:gd name="T27" fmla="*/ 104 h 4789"/>
              <a:gd name="T28" fmla="*/ 3609 w 4808"/>
              <a:gd name="T29" fmla="*/ 0 h 4789"/>
              <a:gd name="T30" fmla="*/ 2710 w 4808"/>
              <a:gd name="T31" fmla="*/ 1369 h 4789"/>
              <a:gd name="T32" fmla="*/ 1300 w 4808"/>
              <a:gd name="T33" fmla="*/ 999 h 4789"/>
              <a:gd name="T34" fmla="*/ 1309 w 4808"/>
              <a:gd name="T35" fmla="*/ 892 h 4789"/>
              <a:gd name="T36" fmla="*/ 865 w 4808"/>
              <a:gd name="T37" fmla="*/ 294 h 4789"/>
              <a:gd name="T38" fmla="*/ 665 w 4808"/>
              <a:gd name="T39" fmla="*/ 298 h 4789"/>
              <a:gd name="T40" fmla="*/ 278 w 4808"/>
              <a:gd name="T41" fmla="*/ 787 h 4789"/>
              <a:gd name="T42" fmla="*/ 630 w 4808"/>
              <a:gd name="T43" fmla="*/ 1163 h 4789"/>
              <a:gd name="T44" fmla="*/ 926 w 4808"/>
              <a:gd name="T45" fmla="*/ 1291 h 4789"/>
              <a:gd name="T46" fmla="*/ 1018 w 4808"/>
              <a:gd name="T47" fmla="*/ 1282 h 4789"/>
              <a:gd name="T48" fmla="*/ 1485 w 4808"/>
              <a:gd name="T49" fmla="*/ 2594 h 4789"/>
              <a:gd name="T50" fmla="*/ 1037 w 4808"/>
              <a:gd name="T51" fmla="*/ 2572 h 4789"/>
              <a:gd name="T52" fmla="*/ 92 w 4808"/>
              <a:gd name="T53" fmla="*/ 3809 h 4789"/>
              <a:gd name="T54" fmla="*/ 186 w 4808"/>
              <a:gd name="T55" fmla="*/ 3882 h 4789"/>
              <a:gd name="T56" fmla="*/ 727 w 4808"/>
              <a:gd name="T57" fmla="*/ 3384 h 4789"/>
              <a:gd name="T58" fmla="*/ 789 w 4808"/>
              <a:gd name="T59" fmla="*/ 3371 h 4789"/>
              <a:gd name="T60" fmla="*/ 796 w 4808"/>
              <a:gd name="T61" fmla="*/ 3372 h 4789"/>
              <a:gd name="T62" fmla="*/ 1218 w 4808"/>
              <a:gd name="T63" fmla="*/ 3798 h 4789"/>
              <a:gd name="T64" fmla="*/ 1192 w 4808"/>
              <a:gd name="T65" fmla="*/ 3873 h 4789"/>
              <a:gd name="T66" fmla="*/ 707 w 4808"/>
              <a:gd name="T67" fmla="*/ 4427 h 4789"/>
              <a:gd name="T68" fmla="*/ 1037 w 4808"/>
              <a:gd name="T69" fmla="*/ 4531 h 4789"/>
              <a:gd name="T70" fmla="*/ 2016 w 4808"/>
              <a:gd name="T71" fmla="*/ 3551 h 4789"/>
              <a:gd name="T72" fmla="*/ 1994 w 4808"/>
              <a:gd name="T73" fmla="*/ 3103 h 4789"/>
              <a:gd name="T74" fmla="*/ 2535 w 4808"/>
              <a:gd name="T75" fmla="*/ 2799 h 4789"/>
              <a:gd name="T76" fmla="*/ 2410 w 4808"/>
              <a:gd name="T77" fmla="*/ 3007 h 4789"/>
              <a:gd name="T78" fmla="*/ 2721 w 4808"/>
              <a:gd name="T79" fmla="*/ 3401 h 4789"/>
              <a:gd name="T80" fmla="*/ 2781 w 4808"/>
              <a:gd name="T81" fmla="*/ 3663 h 4789"/>
              <a:gd name="T82" fmla="*/ 4013 w 4808"/>
              <a:gd name="T83" fmla="*/ 4789 h 4789"/>
              <a:gd name="T84" fmla="*/ 4734 w 4808"/>
              <a:gd name="T85" fmla="*/ 4173 h 4789"/>
              <a:gd name="T86" fmla="*/ 4734 w 4808"/>
              <a:gd name="T87" fmla="*/ 3815 h 4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808" h="4789">
                <a:moveTo>
                  <a:pt x="4734" y="3815"/>
                </a:moveTo>
                <a:lnTo>
                  <a:pt x="3682" y="2763"/>
                </a:lnTo>
                <a:cubicBezTo>
                  <a:pt x="3634" y="2715"/>
                  <a:pt x="3570" y="2689"/>
                  <a:pt x="3502" y="2689"/>
                </a:cubicBezTo>
                <a:cubicBezTo>
                  <a:pt x="3474" y="2689"/>
                  <a:pt x="3446" y="2694"/>
                  <a:pt x="3420" y="2703"/>
                </a:cubicBezTo>
                <a:lnTo>
                  <a:pt x="3167" y="2450"/>
                </a:lnTo>
                <a:cubicBezTo>
                  <a:pt x="3130" y="2413"/>
                  <a:pt x="3079" y="2392"/>
                  <a:pt x="3026" y="2392"/>
                </a:cubicBezTo>
                <a:cubicBezTo>
                  <a:pt x="2972" y="2392"/>
                  <a:pt x="2922" y="2413"/>
                  <a:pt x="2884" y="2450"/>
                </a:cubicBezTo>
                <a:lnTo>
                  <a:pt x="2818" y="2517"/>
                </a:lnTo>
                <a:lnTo>
                  <a:pt x="2699" y="2398"/>
                </a:lnTo>
                <a:lnTo>
                  <a:pt x="3219" y="1876"/>
                </a:lnTo>
                <a:cubicBezTo>
                  <a:pt x="3340" y="1928"/>
                  <a:pt x="3472" y="1953"/>
                  <a:pt x="3609" y="1953"/>
                </a:cubicBezTo>
                <a:lnTo>
                  <a:pt x="3609" y="1953"/>
                </a:lnTo>
                <a:cubicBezTo>
                  <a:pt x="3870" y="1953"/>
                  <a:pt x="4116" y="1854"/>
                  <a:pt x="4301" y="1669"/>
                </a:cubicBezTo>
                <a:cubicBezTo>
                  <a:pt x="4549" y="1421"/>
                  <a:pt x="4646" y="1059"/>
                  <a:pt x="4553" y="720"/>
                </a:cubicBezTo>
                <a:cubicBezTo>
                  <a:pt x="4542" y="678"/>
                  <a:pt x="4502" y="648"/>
                  <a:pt x="4459" y="648"/>
                </a:cubicBezTo>
                <a:cubicBezTo>
                  <a:pt x="4441" y="648"/>
                  <a:pt x="4413" y="654"/>
                  <a:pt x="4388" y="680"/>
                </a:cubicBezTo>
                <a:cubicBezTo>
                  <a:pt x="4384" y="683"/>
                  <a:pt x="4034" y="1030"/>
                  <a:pt x="3918" y="1146"/>
                </a:cubicBezTo>
                <a:cubicBezTo>
                  <a:pt x="3906" y="1159"/>
                  <a:pt x="3885" y="1161"/>
                  <a:pt x="3872" y="1161"/>
                </a:cubicBezTo>
                <a:cubicBezTo>
                  <a:pt x="3864" y="1161"/>
                  <a:pt x="3859" y="1160"/>
                  <a:pt x="3859" y="1160"/>
                </a:cubicBezTo>
                <a:lnTo>
                  <a:pt x="3859" y="1160"/>
                </a:lnTo>
                <a:lnTo>
                  <a:pt x="3851" y="1159"/>
                </a:lnTo>
                <a:cubicBezTo>
                  <a:pt x="3707" y="1146"/>
                  <a:pt x="3535" y="1119"/>
                  <a:pt x="3491" y="1099"/>
                </a:cubicBezTo>
                <a:cubicBezTo>
                  <a:pt x="3470" y="1055"/>
                  <a:pt x="3445" y="879"/>
                  <a:pt x="3432" y="733"/>
                </a:cubicBezTo>
                <a:lnTo>
                  <a:pt x="3432" y="731"/>
                </a:lnTo>
                <a:lnTo>
                  <a:pt x="3429" y="727"/>
                </a:lnTo>
                <a:cubicBezTo>
                  <a:pt x="3428" y="720"/>
                  <a:pt x="3425" y="687"/>
                  <a:pt x="3454" y="658"/>
                </a:cubicBezTo>
                <a:cubicBezTo>
                  <a:pt x="3574" y="538"/>
                  <a:pt x="3905" y="204"/>
                  <a:pt x="3908" y="201"/>
                </a:cubicBezTo>
                <a:cubicBezTo>
                  <a:pt x="3936" y="173"/>
                  <a:pt x="3947" y="138"/>
                  <a:pt x="3938" y="104"/>
                </a:cubicBezTo>
                <a:cubicBezTo>
                  <a:pt x="3927" y="64"/>
                  <a:pt x="3893" y="42"/>
                  <a:pt x="3865" y="34"/>
                </a:cubicBezTo>
                <a:cubicBezTo>
                  <a:pt x="3782" y="11"/>
                  <a:pt x="3695" y="0"/>
                  <a:pt x="3609" y="0"/>
                </a:cubicBezTo>
                <a:cubicBezTo>
                  <a:pt x="3347" y="0"/>
                  <a:pt x="3101" y="102"/>
                  <a:pt x="2916" y="287"/>
                </a:cubicBezTo>
                <a:cubicBezTo>
                  <a:pt x="2624" y="579"/>
                  <a:pt x="2555" y="1011"/>
                  <a:pt x="2710" y="1369"/>
                </a:cubicBezTo>
                <a:lnTo>
                  <a:pt x="2190" y="1889"/>
                </a:lnTo>
                <a:lnTo>
                  <a:pt x="1300" y="999"/>
                </a:lnTo>
                <a:cubicBezTo>
                  <a:pt x="1300" y="998"/>
                  <a:pt x="1299" y="998"/>
                  <a:pt x="1299" y="997"/>
                </a:cubicBezTo>
                <a:cubicBezTo>
                  <a:pt x="1307" y="963"/>
                  <a:pt x="1311" y="928"/>
                  <a:pt x="1309" y="892"/>
                </a:cubicBezTo>
                <a:cubicBezTo>
                  <a:pt x="1305" y="788"/>
                  <a:pt x="1260" y="689"/>
                  <a:pt x="1182" y="611"/>
                </a:cubicBezTo>
                <a:lnTo>
                  <a:pt x="865" y="294"/>
                </a:lnTo>
                <a:cubicBezTo>
                  <a:pt x="858" y="288"/>
                  <a:pt x="821" y="253"/>
                  <a:pt x="766" y="253"/>
                </a:cubicBezTo>
                <a:cubicBezTo>
                  <a:pt x="740" y="253"/>
                  <a:pt x="702" y="261"/>
                  <a:pt x="665" y="298"/>
                </a:cubicBezTo>
                <a:lnTo>
                  <a:pt x="318" y="645"/>
                </a:lnTo>
                <a:cubicBezTo>
                  <a:pt x="277" y="685"/>
                  <a:pt x="263" y="737"/>
                  <a:pt x="278" y="787"/>
                </a:cubicBezTo>
                <a:cubicBezTo>
                  <a:pt x="288" y="820"/>
                  <a:pt x="308" y="842"/>
                  <a:pt x="314" y="848"/>
                </a:cubicBezTo>
                <a:lnTo>
                  <a:pt x="630" y="1163"/>
                </a:lnTo>
                <a:cubicBezTo>
                  <a:pt x="712" y="1246"/>
                  <a:pt x="817" y="1291"/>
                  <a:pt x="926" y="1291"/>
                </a:cubicBezTo>
                <a:lnTo>
                  <a:pt x="926" y="1291"/>
                </a:lnTo>
                <a:cubicBezTo>
                  <a:pt x="957" y="1291"/>
                  <a:pt x="987" y="1287"/>
                  <a:pt x="1016" y="1280"/>
                </a:cubicBezTo>
                <a:cubicBezTo>
                  <a:pt x="1017" y="1281"/>
                  <a:pt x="1017" y="1281"/>
                  <a:pt x="1018" y="1282"/>
                </a:cubicBezTo>
                <a:lnTo>
                  <a:pt x="1907" y="2171"/>
                </a:lnTo>
                <a:lnTo>
                  <a:pt x="1485" y="2594"/>
                </a:lnTo>
                <a:cubicBezTo>
                  <a:pt x="1466" y="2613"/>
                  <a:pt x="1449" y="2634"/>
                  <a:pt x="1435" y="2656"/>
                </a:cubicBezTo>
                <a:cubicBezTo>
                  <a:pt x="1311" y="2601"/>
                  <a:pt x="1176" y="2572"/>
                  <a:pt x="1037" y="2572"/>
                </a:cubicBezTo>
                <a:cubicBezTo>
                  <a:pt x="775" y="2572"/>
                  <a:pt x="529" y="2674"/>
                  <a:pt x="344" y="2859"/>
                </a:cubicBezTo>
                <a:cubicBezTo>
                  <a:pt x="96" y="3106"/>
                  <a:pt x="0" y="3471"/>
                  <a:pt x="92" y="3809"/>
                </a:cubicBezTo>
                <a:cubicBezTo>
                  <a:pt x="103" y="3852"/>
                  <a:pt x="143" y="3882"/>
                  <a:pt x="186" y="3882"/>
                </a:cubicBezTo>
                <a:lnTo>
                  <a:pt x="186" y="3882"/>
                </a:lnTo>
                <a:cubicBezTo>
                  <a:pt x="204" y="3882"/>
                  <a:pt x="232" y="3877"/>
                  <a:pt x="258" y="3851"/>
                </a:cubicBezTo>
                <a:cubicBezTo>
                  <a:pt x="261" y="3847"/>
                  <a:pt x="611" y="3500"/>
                  <a:pt x="727" y="3384"/>
                </a:cubicBezTo>
                <a:cubicBezTo>
                  <a:pt x="740" y="3372"/>
                  <a:pt x="762" y="3370"/>
                  <a:pt x="774" y="3370"/>
                </a:cubicBezTo>
                <a:cubicBezTo>
                  <a:pt x="783" y="3370"/>
                  <a:pt x="789" y="3371"/>
                  <a:pt x="789" y="3371"/>
                </a:cubicBezTo>
                <a:lnTo>
                  <a:pt x="789" y="3371"/>
                </a:lnTo>
                <a:lnTo>
                  <a:pt x="796" y="3372"/>
                </a:lnTo>
                <a:cubicBezTo>
                  <a:pt x="940" y="3385"/>
                  <a:pt x="1113" y="3411"/>
                  <a:pt x="1157" y="3431"/>
                </a:cubicBezTo>
                <a:cubicBezTo>
                  <a:pt x="1178" y="3475"/>
                  <a:pt x="1205" y="3652"/>
                  <a:pt x="1218" y="3798"/>
                </a:cubicBezTo>
                <a:lnTo>
                  <a:pt x="1219" y="3805"/>
                </a:lnTo>
                <a:cubicBezTo>
                  <a:pt x="1219" y="3805"/>
                  <a:pt x="1223" y="3842"/>
                  <a:pt x="1192" y="3873"/>
                </a:cubicBezTo>
                <a:cubicBezTo>
                  <a:pt x="1072" y="3993"/>
                  <a:pt x="741" y="4327"/>
                  <a:pt x="738" y="4330"/>
                </a:cubicBezTo>
                <a:cubicBezTo>
                  <a:pt x="710" y="4358"/>
                  <a:pt x="699" y="4393"/>
                  <a:pt x="707" y="4427"/>
                </a:cubicBezTo>
                <a:cubicBezTo>
                  <a:pt x="718" y="4467"/>
                  <a:pt x="752" y="4489"/>
                  <a:pt x="780" y="4497"/>
                </a:cubicBezTo>
                <a:cubicBezTo>
                  <a:pt x="864" y="4519"/>
                  <a:pt x="950" y="4531"/>
                  <a:pt x="1037" y="4531"/>
                </a:cubicBezTo>
                <a:cubicBezTo>
                  <a:pt x="1298" y="4531"/>
                  <a:pt x="1544" y="4429"/>
                  <a:pt x="1729" y="4244"/>
                </a:cubicBezTo>
                <a:cubicBezTo>
                  <a:pt x="1914" y="4059"/>
                  <a:pt x="2016" y="3813"/>
                  <a:pt x="2016" y="3551"/>
                </a:cubicBezTo>
                <a:cubicBezTo>
                  <a:pt x="2016" y="3412"/>
                  <a:pt x="1987" y="3277"/>
                  <a:pt x="1932" y="3153"/>
                </a:cubicBezTo>
                <a:cubicBezTo>
                  <a:pt x="1954" y="3139"/>
                  <a:pt x="1975" y="3122"/>
                  <a:pt x="1994" y="3103"/>
                </a:cubicBezTo>
                <a:lnTo>
                  <a:pt x="2417" y="2681"/>
                </a:lnTo>
                <a:lnTo>
                  <a:pt x="2535" y="2799"/>
                </a:lnTo>
                <a:lnTo>
                  <a:pt x="2469" y="2866"/>
                </a:lnTo>
                <a:cubicBezTo>
                  <a:pt x="2431" y="2904"/>
                  <a:pt x="2410" y="2954"/>
                  <a:pt x="2410" y="3007"/>
                </a:cubicBezTo>
                <a:cubicBezTo>
                  <a:pt x="2410" y="3061"/>
                  <a:pt x="2431" y="3111"/>
                  <a:pt x="2469" y="3149"/>
                </a:cubicBezTo>
                <a:lnTo>
                  <a:pt x="2721" y="3401"/>
                </a:lnTo>
                <a:cubicBezTo>
                  <a:pt x="2712" y="3427"/>
                  <a:pt x="2707" y="3455"/>
                  <a:pt x="2707" y="3484"/>
                </a:cubicBezTo>
                <a:cubicBezTo>
                  <a:pt x="2707" y="3552"/>
                  <a:pt x="2734" y="3615"/>
                  <a:pt x="2781" y="3663"/>
                </a:cubicBezTo>
                <a:lnTo>
                  <a:pt x="3834" y="4715"/>
                </a:lnTo>
                <a:cubicBezTo>
                  <a:pt x="3881" y="4763"/>
                  <a:pt x="3945" y="4789"/>
                  <a:pt x="4013" y="4789"/>
                </a:cubicBezTo>
                <a:cubicBezTo>
                  <a:pt x="4081" y="4789"/>
                  <a:pt x="4144" y="4763"/>
                  <a:pt x="4192" y="4715"/>
                </a:cubicBezTo>
                <a:lnTo>
                  <a:pt x="4734" y="4173"/>
                </a:lnTo>
                <a:cubicBezTo>
                  <a:pt x="4782" y="4126"/>
                  <a:pt x="4808" y="4062"/>
                  <a:pt x="4808" y="3994"/>
                </a:cubicBezTo>
                <a:cubicBezTo>
                  <a:pt x="4808" y="3926"/>
                  <a:pt x="4782" y="3863"/>
                  <a:pt x="4734" y="381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/>
          </a:p>
        </p:txBody>
      </p:sp>
      <p:sp>
        <p:nvSpPr>
          <p:cNvPr id="15" name="îṧľîdé"/>
          <p:cNvSpPr/>
          <p:nvPr/>
        </p:nvSpPr>
        <p:spPr>
          <a:xfrm>
            <a:off x="3931976" y="1728638"/>
            <a:ext cx="4034934" cy="2095500"/>
          </a:xfrm>
          <a:prstGeom prst="leftRightRibbon">
            <a:avLst>
              <a:gd name="adj1" fmla="val 50000"/>
              <a:gd name="adj2" fmla="val 50000"/>
              <a:gd name="adj3" fmla="val 33333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16" name="内容占位符 2"/>
          <p:cNvSpPr txBox="1"/>
          <p:nvPr/>
        </p:nvSpPr>
        <p:spPr>
          <a:xfrm>
            <a:off x="1054501" y="2776388"/>
            <a:ext cx="4308362" cy="308426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300"/>
              </a:spcBef>
              <a:buNone/>
              <a:defRPr/>
            </a:pPr>
            <a:r>
              <a:rPr lang="zh-CN" altLang="en-US" sz="2500" dirty="0"/>
              <a:t>根据实时任务性质</a:t>
            </a:r>
          </a:p>
          <a:p>
            <a:pPr marL="342900" lvl="1" indent="-342900">
              <a:lnSpc>
                <a:spcPct val="150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en-US" altLang="zh-CN" sz="2400" dirty="0">
                <a:solidFill>
                  <a:srgbClr val="FF0000"/>
                </a:solidFill>
              </a:rPr>
              <a:t>HRT</a:t>
            </a: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调度算法</a:t>
            </a:r>
          </a:p>
          <a:p>
            <a:pPr marL="342900" lvl="1" indent="-342900">
              <a:lnSpc>
                <a:spcPct val="150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en-US" altLang="zh-CN" sz="2400" dirty="0">
                <a:solidFill>
                  <a:srgbClr val="0000FF"/>
                </a:solidFill>
              </a:rPr>
              <a:t>SRT</a:t>
            </a: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调度算法</a:t>
            </a:r>
          </a:p>
        </p:txBody>
      </p:sp>
      <p:sp>
        <p:nvSpPr>
          <p:cNvPr id="17" name="内容占位符 2"/>
          <p:cNvSpPr txBox="1"/>
          <p:nvPr/>
        </p:nvSpPr>
        <p:spPr>
          <a:xfrm>
            <a:off x="8289716" y="3429000"/>
            <a:ext cx="3216369" cy="263480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spcBef>
                <a:spcPts val="580"/>
              </a:spcBef>
              <a:buNone/>
              <a:defRPr/>
            </a:pPr>
            <a:r>
              <a:rPr lang="zh-CN" altLang="en-US" sz="2500" dirty="0"/>
              <a:t>根据调度方式</a:t>
            </a: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非抢占式调度算法</a:t>
            </a: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抢占式调度算法</a:t>
            </a: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非抢占式调度算法</a:t>
            </a:r>
          </a:p>
        </p:txBody>
      </p:sp>
      <p:sp>
        <p:nvSpPr>
          <p:cNvPr id="13" name="íSľïdé"/>
          <p:cNvSpPr/>
          <p:nvPr/>
        </p:nvSpPr>
        <p:spPr>
          <a:xfrm>
            <a:off x="1969071" y="1869333"/>
            <a:ext cx="567702" cy="511936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200" kern="1200"/>
          </a:p>
        </p:txBody>
      </p:sp>
      <p:sp>
        <p:nvSpPr>
          <p:cNvPr id="14" name="ïŝļíḓê"/>
          <p:cNvSpPr/>
          <p:nvPr/>
        </p:nvSpPr>
        <p:spPr bwMode="auto">
          <a:xfrm>
            <a:off x="8751436" y="2501181"/>
            <a:ext cx="556774" cy="553604"/>
          </a:xfrm>
          <a:custGeom>
            <a:avLst/>
            <a:gdLst>
              <a:gd name="T0" fmla="*/ 3682 w 4808"/>
              <a:gd name="T1" fmla="*/ 2763 h 4789"/>
              <a:gd name="T2" fmla="*/ 3420 w 4808"/>
              <a:gd name="T3" fmla="*/ 2703 h 4789"/>
              <a:gd name="T4" fmla="*/ 3026 w 4808"/>
              <a:gd name="T5" fmla="*/ 2392 h 4789"/>
              <a:gd name="T6" fmla="*/ 2818 w 4808"/>
              <a:gd name="T7" fmla="*/ 2517 h 4789"/>
              <a:gd name="T8" fmla="*/ 3219 w 4808"/>
              <a:gd name="T9" fmla="*/ 1876 h 4789"/>
              <a:gd name="T10" fmla="*/ 3609 w 4808"/>
              <a:gd name="T11" fmla="*/ 1953 h 4789"/>
              <a:gd name="T12" fmla="*/ 4553 w 4808"/>
              <a:gd name="T13" fmla="*/ 720 h 4789"/>
              <a:gd name="T14" fmla="*/ 4388 w 4808"/>
              <a:gd name="T15" fmla="*/ 680 h 4789"/>
              <a:gd name="T16" fmla="*/ 3872 w 4808"/>
              <a:gd name="T17" fmla="*/ 1161 h 4789"/>
              <a:gd name="T18" fmla="*/ 3859 w 4808"/>
              <a:gd name="T19" fmla="*/ 1160 h 4789"/>
              <a:gd name="T20" fmla="*/ 3491 w 4808"/>
              <a:gd name="T21" fmla="*/ 1099 h 4789"/>
              <a:gd name="T22" fmla="*/ 3432 w 4808"/>
              <a:gd name="T23" fmla="*/ 731 h 4789"/>
              <a:gd name="T24" fmla="*/ 3454 w 4808"/>
              <a:gd name="T25" fmla="*/ 658 h 4789"/>
              <a:gd name="T26" fmla="*/ 3938 w 4808"/>
              <a:gd name="T27" fmla="*/ 104 h 4789"/>
              <a:gd name="T28" fmla="*/ 3609 w 4808"/>
              <a:gd name="T29" fmla="*/ 0 h 4789"/>
              <a:gd name="T30" fmla="*/ 2710 w 4808"/>
              <a:gd name="T31" fmla="*/ 1369 h 4789"/>
              <a:gd name="T32" fmla="*/ 1300 w 4808"/>
              <a:gd name="T33" fmla="*/ 999 h 4789"/>
              <a:gd name="T34" fmla="*/ 1309 w 4808"/>
              <a:gd name="T35" fmla="*/ 892 h 4789"/>
              <a:gd name="T36" fmla="*/ 865 w 4808"/>
              <a:gd name="T37" fmla="*/ 294 h 4789"/>
              <a:gd name="T38" fmla="*/ 665 w 4808"/>
              <a:gd name="T39" fmla="*/ 298 h 4789"/>
              <a:gd name="T40" fmla="*/ 278 w 4808"/>
              <a:gd name="T41" fmla="*/ 787 h 4789"/>
              <a:gd name="T42" fmla="*/ 630 w 4808"/>
              <a:gd name="T43" fmla="*/ 1163 h 4789"/>
              <a:gd name="T44" fmla="*/ 926 w 4808"/>
              <a:gd name="T45" fmla="*/ 1291 h 4789"/>
              <a:gd name="T46" fmla="*/ 1018 w 4808"/>
              <a:gd name="T47" fmla="*/ 1282 h 4789"/>
              <a:gd name="T48" fmla="*/ 1485 w 4808"/>
              <a:gd name="T49" fmla="*/ 2594 h 4789"/>
              <a:gd name="T50" fmla="*/ 1037 w 4808"/>
              <a:gd name="T51" fmla="*/ 2572 h 4789"/>
              <a:gd name="T52" fmla="*/ 92 w 4808"/>
              <a:gd name="T53" fmla="*/ 3809 h 4789"/>
              <a:gd name="T54" fmla="*/ 186 w 4808"/>
              <a:gd name="T55" fmla="*/ 3882 h 4789"/>
              <a:gd name="T56" fmla="*/ 727 w 4808"/>
              <a:gd name="T57" fmla="*/ 3384 h 4789"/>
              <a:gd name="T58" fmla="*/ 789 w 4808"/>
              <a:gd name="T59" fmla="*/ 3371 h 4789"/>
              <a:gd name="T60" fmla="*/ 796 w 4808"/>
              <a:gd name="T61" fmla="*/ 3372 h 4789"/>
              <a:gd name="T62" fmla="*/ 1218 w 4808"/>
              <a:gd name="T63" fmla="*/ 3798 h 4789"/>
              <a:gd name="T64" fmla="*/ 1192 w 4808"/>
              <a:gd name="T65" fmla="*/ 3873 h 4789"/>
              <a:gd name="T66" fmla="*/ 707 w 4808"/>
              <a:gd name="T67" fmla="*/ 4427 h 4789"/>
              <a:gd name="T68" fmla="*/ 1037 w 4808"/>
              <a:gd name="T69" fmla="*/ 4531 h 4789"/>
              <a:gd name="T70" fmla="*/ 2016 w 4808"/>
              <a:gd name="T71" fmla="*/ 3551 h 4789"/>
              <a:gd name="T72" fmla="*/ 1994 w 4808"/>
              <a:gd name="T73" fmla="*/ 3103 h 4789"/>
              <a:gd name="T74" fmla="*/ 2535 w 4808"/>
              <a:gd name="T75" fmla="*/ 2799 h 4789"/>
              <a:gd name="T76" fmla="*/ 2410 w 4808"/>
              <a:gd name="T77" fmla="*/ 3007 h 4789"/>
              <a:gd name="T78" fmla="*/ 2721 w 4808"/>
              <a:gd name="T79" fmla="*/ 3401 h 4789"/>
              <a:gd name="T80" fmla="*/ 2781 w 4808"/>
              <a:gd name="T81" fmla="*/ 3663 h 4789"/>
              <a:gd name="T82" fmla="*/ 4013 w 4808"/>
              <a:gd name="T83" fmla="*/ 4789 h 4789"/>
              <a:gd name="T84" fmla="*/ 4734 w 4808"/>
              <a:gd name="T85" fmla="*/ 4173 h 4789"/>
              <a:gd name="T86" fmla="*/ 4734 w 4808"/>
              <a:gd name="T87" fmla="*/ 3815 h 4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808" h="4789">
                <a:moveTo>
                  <a:pt x="4734" y="3815"/>
                </a:moveTo>
                <a:lnTo>
                  <a:pt x="3682" y="2763"/>
                </a:lnTo>
                <a:cubicBezTo>
                  <a:pt x="3634" y="2715"/>
                  <a:pt x="3570" y="2689"/>
                  <a:pt x="3502" y="2689"/>
                </a:cubicBezTo>
                <a:cubicBezTo>
                  <a:pt x="3474" y="2689"/>
                  <a:pt x="3446" y="2694"/>
                  <a:pt x="3420" y="2703"/>
                </a:cubicBezTo>
                <a:lnTo>
                  <a:pt x="3167" y="2450"/>
                </a:lnTo>
                <a:cubicBezTo>
                  <a:pt x="3130" y="2413"/>
                  <a:pt x="3079" y="2392"/>
                  <a:pt x="3026" y="2392"/>
                </a:cubicBezTo>
                <a:cubicBezTo>
                  <a:pt x="2972" y="2392"/>
                  <a:pt x="2922" y="2413"/>
                  <a:pt x="2884" y="2450"/>
                </a:cubicBezTo>
                <a:lnTo>
                  <a:pt x="2818" y="2517"/>
                </a:lnTo>
                <a:lnTo>
                  <a:pt x="2699" y="2398"/>
                </a:lnTo>
                <a:lnTo>
                  <a:pt x="3219" y="1876"/>
                </a:lnTo>
                <a:cubicBezTo>
                  <a:pt x="3340" y="1928"/>
                  <a:pt x="3472" y="1953"/>
                  <a:pt x="3609" y="1953"/>
                </a:cubicBezTo>
                <a:lnTo>
                  <a:pt x="3609" y="1953"/>
                </a:lnTo>
                <a:cubicBezTo>
                  <a:pt x="3870" y="1953"/>
                  <a:pt x="4116" y="1854"/>
                  <a:pt x="4301" y="1669"/>
                </a:cubicBezTo>
                <a:cubicBezTo>
                  <a:pt x="4549" y="1421"/>
                  <a:pt x="4646" y="1059"/>
                  <a:pt x="4553" y="720"/>
                </a:cubicBezTo>
                <a:cubicBezTo>
                  <a:pt x="4542" y="678"/>
                  <a:pt x="4502" y="648"/>
                  <a:pt x="4459" y="648"/>
                </a:cubicBezTo>
                <a:cubicBezTo>
                  <a:pt x="4441" y="648"/>
                  <a:pt x="4413" y="654"/>
                  <a:pt x="4388" y="680"/>
                </a:cubicBezTo>
                <a:cubicBezTo>
                  <a:pt x="4384" y="683"/>
                  <a:pt x="4034" y="1030"/>
                  <a:pt x="3918" y="1146"/>
                </a:cubicBezTo>
                <a:cubicBezTo>
                  <a:pt x="3906" y="1159"/>
                  <a:pt x="3885" y="1161"/>
                  <a:pt x="3872" y="1161"/>
                </a:cubicBezTo>
                <a:cubicBezTo>
                  <a:pt x="3864" y="1161"/>
                  <a:pt x="3859" y="1160"/>
                  <a:pt x="3859" y="1160"/>
                </a:cubicBezTo>
                <a:lnTo>
                  <a:pt x="3859" y="1160"/>
                </a:lnTo>
                <a:lnTo>
                  <a:pt x="3851" y="1159"/>
                </a:lnTo>
                <a:cubicBezTo>
                  <a:pt x="3707" y="1146"/>
                  <a:pt x="3535" y="1119"/>
                  <a:pt x="3491" y="1099"/>
                </a:cubicBezTo>
                <a:cubicBezTo>
                  <a:pt x="3470" y="1055"/>
                  <a:pt x="3445" y="879"/>
                  <a:pt x="3432" y="733"/>
                </a:cubicBezTo>
                <a:lnTo>
                  <a:pt x="3432" y="731"/>
                </a:lnTo>
                <a:lnTo>
                  <a:pt x="3429" y="727"/>
                </a:lnTo>
                <a:cubicBezTo>
                  <a:pt x="3428" y="720"/>
                  <a:pt x="3425" y="687"/>
                  <a:pt x="3454" y="658"/>
                </a:cubicBezTo>
                <a:cubicBezTo>
                  <a:pt x="3574" y="538"/>
                  <a:pt x="3905" y="204"/>
                  <a:pt x="3908" y="201"/>
                </a:cubicBezTo>
                <a:cubicBezTo>
                  <a:pt x="3936" y="173"/>
                  <a:pt x="3947" y="138"/>
                  <a:pt x="3938" y="104"/>
                </a:cubicBezTo>
                <a:cubicBezTo>
                  <a:pt x="3927" y="64"/>
                  <a:pt x="3893" y="42"/>
                  <a:pt x="3865" y="34"/>
                </a:cubicBezTo>
                <a:cubicBezTo>
                  <a:pt x="3782" y="11"/>
                  <a:pt x="3695" y="0"/>
                  <a:pt x="3609" y="0"/>
                </a:cubicBezTo>
                <a:cubicBezTo>
                  <a:pt x="3347" y="0"/>
                  <a:pt x="3101" y="102"/>
                  <a:pt x="2916" y="287"/>
                </a:cubicBezTo>
                <a:cubicBezTo>
                  <a:pt x="2624" y="579"/>
                  <a:pt x="2555" y="1011"/>
                  <a:pt x="2710" y="1369"/>
                </a:cubicBezTo>
                <a:lnTo>
                  <a:pt x="2190" y="1889"/>
                </a:lnTo>
                <a:lnTo>
                  <a:pt x="1300" y="999"/>
                </a:lnTo>
                <a:cubicBezTo>
                  <a:pt x="1300" y="998"/>
                  <a:pt x="1299" y="998"/>
                  <a:pt x="1299" y="997"/>
                </a:cubicBezTo>
                <a:cubicBezTo>
                  <a:pt x="1307" y="963"/>
                  <a:pt x="1311" y="928"/>
                  <a:pt x="1309" y="892"/>
                </a:cubicBezTo>
                <a:cubicBezTo>
                  <a:pt x="1305" y="788"/>
                  <a:pt x="1260" y="689"/>
                  <a:pt x="1182" y="611"/>
                </a:cubicBezTo>
                <a:lnTo>
                  <a:pt x="865" y="294"/>
                </a:lnTo>
                <a:cubicBezTo>
                  <a:pt x="858" y="288"/>
                  <a:pt x="821" y="253"/>
                  <a:pt x="766" y="253"/>
                </a:cubicBezTo>
                <a:cubicBezTo>
                  <a:pt x="740" y="253"/>
                  <a:pt x="702" y="261"/>
                  <a:pt x="665" y="298"/>
                </a:cubicBezTo>
                <a:lnTo>
                  <a:pt x="318" y="645"/>
                </a:lnTo>
                <a:cubicBezTo>
                  <a:pt x="277" y="685"/>
                  <a:pt x="263" y="737"/>
                  <a:pt x="278" y="787"/>
                </a:cubicBezTo>
                <a:cubicBezTo>
                  <a:pt x="288" y="820"/>
                  <a:pt x="308" y="842"/>
                  <a:pt x="314" y="848"/>
                </a:cubicBezTo>
                <a:lnTo>
                  <a:pt x="630" y="1163"/>
                </a:lnTo>
                <a:cubicBezTo>
                  <a:pt x="712" y="1246"/>
                  <a:pt x="817" y="1291"/>
                  <a:pt x="926" y="1291"/>
                </a:cubicBezTo>
                <a:lnTo>
                  <a:pt x="926" y="1291"/>
                </a:lnTo>
                <a:cubicBezTo>
                  <a:pt x="957" y="1291"/>
                  <a:pt x="987" y="1287"/>
                  <a:pt x="1016" y="1280"/>
                </a:cubicBezTo>
                <a:cubicBezTo>
                  <a:pt x="1017" y="1281"/>
                  <a:pt x="1017" y="1281"/>
                  <a:pt x="1018" y="1282"/>
                </a:cubicBezTo>
                <a:lnTo>
                  <a:pt x="1907" y="2171"/>
                </a:lnTo>
                <a:lnTo>
                  <a:pt x="1485" y="2594"/>
                </a:lnTo>
                <a:cubicBezTo>
                  <a:pt x="1466" y="2613"/>
                  <a:pt x="1449" y="2634"/>
                  <a:pt x="1435" y="2656"/>
                </a:cubicBezTo>
                <a:cubicBezTo>
                  <a:pt x="1311" y="2601"/>
                  <a:pt x="1176" y="2572"/>
                  <a:pt x="1037" y="2572"/>
                </a:cubicBezTo>
                <a:cubicBezTo>
                  <a:pt x="775" y="2572"/>
                  <a:pt x="529" y="2674"/>
                  <a:pt x="344" y="2859"/>
                </a:cubicBezTo>
                <a:cubicBezTo>
                  <a:pt x="96" y="3106"/>
                  <a:pt x="0" y="3471"/>
                  <a:pt x="92" y="3809"/>
                </a:cubicBezTo>
                <a:cubicBezTo>
                  <a:pt x="103" y="3852"/>
                  <a:pt x="143" y="3882"/>
                  <a:pt x="186" y="3882"/>
                </a:cubicBezTo>
                <a:lnTo>
                  <a:pt x="186" y="3882"/>
                </a:lnTo>
                <a:cubicBezTo>
                  <a:pt x="204" y="3882"/>
                  <a:pt x="232" y="3877"/>
                  <a:pt x="258" y="3851"/>
                </a:cubicBezTo>
                <a:cubicBezTo>
                  <a:pt x="261" y="3847"/>
                  <a:pt x="611" y="3500"/>
                  <a:pt x="727" y="3384"/>
                </a:cubicBezTo>
                <a:cubicBezTo>
                  <a:pt x="740" y="3372"/>
                  <a:pt x="762" y="3370"/>
                  <a:pt x="774" y="3370"/>
                </a:cubicBezTo>
                <a:cubicBezTo>
                  <a:pt x="783" y="3370"/>
                  <a:pt x="789" y="3371"/>
                  <a:pt x="789" y="3371"/>
                </a:cubicBezTo>
                <a:lnTo>
                  <a:pt x="789" y="3371"/>
                </a:lnTo>
                <a:lnTo>
                  <a:pt x="796" y="3372"/>
                </a:lnTo>
                <a:cubicBezTo>
                  <a:pt x="940" y="3385"/>
                  <a:pt x="1113" y="3411"/>
                  <a:pt x="1157" y="3431"/>
                </a:cubicBezTo>
                <a:cubicBezTo>
                  <a:pt x="1178" y="3475"/>
                  <a:pt x="1205" y="3652"/>
                  <a:pt x="1218" y="3798"/>
                </a:cubicBezTo>
                <a:lnTo>
                  <a:pt x="1219" y="3805"/>
                </a:lnTo>
                <a:cubicBezTo>
                  <a:pt x="1219" y="3805"/>
                  <a:pt x="1223" y="3842"/>
                  <a:pt x="1192" y="3873"/>
                </a:cubicBezTo>
                <a:cubicBezTo>
                  <a:pt x="1072" y="3993"/>
                  <a:pt x="741" y="4327"/>
                  <a:pt x="738" y="4330"/>
                </a:cubicBezTo>
                <a:cubicBezTo>
                  <a:pt x="710" y="4358"/>
                  <a:pt x="699" y="4393"/>
                  <a:pt x="707" y="4427"/>
                </a:cubicBezTo>
                <a:cubicBezTo>
                  <a:pt x="718" y="4467"/>
                  <a:pt x="752" y="4489"/>
                  <a:pt x="780" y="4497"/>
                </a:cubicBezTo>
                <a:cubicBezTo>
                  <a:pt x="864" y="4519"/>
                  <a:pt x="950" y="4531"/>
                  <a:pt x="1037" y="4531"/>
                </a:cubicBezTo>
                <a:cubicBezTo>
                  <a:pt x="1298" y="4531"/>
                  <a:pt x="1544" y="4429"/>
                  <a:pt x="1729" y="4244"/>
                </a:cubicBezTo>
                <a:cubicBezTo>
                  <a:pt x="1914" y="4059"/>
                  <a:pt x="2016" y="3813"/>
                  <a:pt x="2016" y="3551"/>
                </a:cubicBezTo>
                <a:cubicBezTo>
                  <a:pt x="2016" y="3412"/>
                  <a:pt x="1987" y="3277"/>
                  <a:pt x="1932" y="3153"/>
                </a:cubicBezTo>
                <a:cubicBezTo>
                  <a:pt x="1954" y="3139"/>
                  <a:pt x="1975" y="3122"/>
                  <a:pt x="1994" y="3103"/>
                </a:cubicBezTo>
                <a:lnTo>
                  <a:pt x="2417" y="2681"/>
                </a:lnTo>
                <a:lnTo>
                  <a:pt x="2535" y="2799"/>
                </a:lnTo>
                <a:lnTo>
                  <a:pt x="2469" y="2866"/>
                </a:lnTo>
                <a:cubicBezTo>
                  <a:pt x="2431" y="2904"/>
                  <a:pt x="2410" y="2954"/>
                  <a:pt x="2410" y="3007"/>
                </a:cubicBezTo>
                <a:cubicBezTo>
                  <a:pt x="2410" y="3061"/>
                  <a:pt x="2431" y="3111"/>
                  <a:pt x="2469" y="3149"/>
                </a:cubicBezTo>
                <a:lnTo>
                  <a:pt x="2721" y="3401"/>
                </a:lnTo>
                <a:cubicBezTo>
                  <a:pt x="2712" y="3427"/>
                  <a:pt x="2707" y="3455"/>
                  <a:pt x="2707" y="3484"/>
                </a:cubicBezTo>
                <a:cubicBezTo>
                  <a:pt x="2707" y="3552"/>
                  <a:pt x="2734" y="3615"/>
                  <a:pt x="2781" y="3663"/>
                </a:cubicBezTo>
                <a:lnTo>
                  <a:pt x="3834" y="4715"/>
                </a:lnTo>
                <a:cubicBezTo>
                  <a:pt x="3881" y="4763"/>
                  <a:pt x="3945" y="4789"/>
                  <a:pt x="4013" y="4789"/>
                </a:cubicBezTo>
                <a:cubicBezTo>
                  <a:pt x="4081" y="4789"/>
                  <a:pt x="4144" y="4763"/>
                  <a:pt x="4192" y="4715"/>
                </a:cubicBezTo>
                <a:lnTo>
                  <a:pt x="4734" y="4173"/>
                </a:lnTo>
                <a:cubicBezTo>
                  <a:pt x="4782" y="4126"/>
                  <a:pt x="4808" y="4062"/>
                  <a:pt x="4808" y="3994"/>
                </a:cubicBezTo>
                <a:cubicBezTo>
                  <a:pt x="4808" y="3926"/>
                  <a:pt x="4782" y="3863"/>
                  <a:pt x="4734" y="381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/>
          </a:p>
        </p:txBody>
      </p:sp>
      <p:sp>
        <p:nvSpPr>
          <p:cNvPr id="15" name="îṧľîdé"/>
          <p:cNvSpPr/>
          <p:nvPr/>
        </p:nvSpPr>
        <p:spPr>
          <a:xfrm>
            <a:off x="3999939" y="1453430"/>
            <a:ext cx="4034934" cy="2095500"/>
          </a:xfrm>
          <a:prstGeom prst="leftRightRibbon">
            <a:avLst>
              <a:gd name="adj1" fmla="val 50000"/>
              <a:gd name="adj2" fmla="val 50000"/>
              <a:gd name="adj3" fmla="val 33333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16" name="内容占位符 2"/>
          <p:cNvSpPr txBox="1"/>
          <p:nvPr/>
        </p:nvSpPr>
        <p:spPr>
          <a:xfrm>
            <a:off x="956847" y="2501180"/>
            <a:ext cx="4308362" cy="308426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300"/>
              </a:spcBef>
              <a:buNone/>
              <a:defRPr/>
            </a:pPr>
            <a:r>
              <a:rPr lang="zh-CN" altLang="en-US" sz="2500" dirty="0"/>
              <a:t>非抢占式轮转调度算法</a:t>
            </a:r>
          </a:p>
          <a:p>
            <a:pPr marL="342900" lvl="1" indent="-342900">
              <a:lnSpc>
                <a:spcPct val="150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响应时间：数秒至数十秒</a:t>
            </a:r>
          </a:p>
          <a:p>
            <a:pPr marL="342900" lvl="1" indent="-342900">
              <a:lnSpc>
                <a:spcPct val="150000"/>
              </a:lnSpc>
              <a:spcBef>
                <a:spcPts val="30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可用于要求不太严格的实时控制系统</a:t>
            </a:r>
          </a:p>
        </p:txBody>
      </p:sp>
      <p:sp>
        <p:nvSpPr>
          <p:cNvPr id="17" name="内容占位符 2"/>
          <p:cNvSpPr txBox="1"/>
          <p:nvPr/>
        </p:nvSpPr>
        <p:spPr>
          <a:xfrm>
            <a:off x="8192062" y="3153792"/>
            <a:ext cx="3517585" cy="263480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spcBef>
                <a:spcPts val="580"/>
              </a:spcBef>
              <a:buNone/>
              <a:defRPr/>
            </a:pPr>
            <a:r>
              <a:rPr lang="zh-CN" altLang="en-US" sz="2500" dirty="0"/>
              <a:t>非抢占式优先调度算法</a:t>
            </a: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响应时间：数秒至数百毫秒</a:t>
            </a: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可用于有一定要求的实时控制系统</a:t>
            </a: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抢占式调度算法</a:t>
            </a:r>
          </a:p>
        </p:txBody>
      </p:sp>
      <p:sp>
        <p:nvSpPr>
          <p:cNvPr id="570" name="iṥlídè"/>
          <p:cNvSpPr/>
          <p:nvPr/>
        </p:nvSpPr>
        <p:spPr>
          <a:xfrm>
            <a:off x="6958245" y="1128057"/>
            <a:ext cx="5233755" cy="5008286"/>
          </a:xfrm>
          <a:prstGeom prst="rect">
            <a:avLst/>
          </a:prstGeom>
          <a:blipFill>
            <a:blip r:embed="rId2"/>
            <a:stretch>
              <a:fillRect t="-27413" b="-27272"/>
            </a:stretch>
          </a:blipFill>
          <a:ln w="28575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zh-CN" altLang="en-US" dirty="0"/>
          </a:p>
        </p:txBody>
      </p:sp>
      <p:grpSp>
        <p:nvGrpSpPr>
          <p:cNvPr id="571" name="iṡļiḓe"/>
          <p:cNvGrpSpPr/>
          <p:nvPr/>
        </p:nvGrpSpPr>
        <p:grpSpPr>
          <a:xfrm>
            <a:off x="669925" y="1585956"/>
            <a:ext cx="6178397" cy="1562001"/>
            <a:chOff x="660400" y="1787149"/>
            <a:chExt cx="6178397" cy="1562001"/>
          </a:xfrm>
        </p:grpSpPr>
        <p:grpSp>
          <p:nvGrpSpPr>
            <p:cNvPr id="1144" name="iSḻíḓè"/>
            <p:cNvGrpSpPr/>
            <p:nvPr/>
          </p:nvGrpSpPr>
          <p:grpSpPr>
            <a:xfrm>
              <a:off x="1296567" y="1835355"/>
              <a:ext cx="5542230" cy="1513795"/>
              <a:chOff x="1296567" y="1835355"/>
              <a:chExt cx="6990140" cy="1513795"/>
            </a:xfrm>
          </p:grpSpPr>
          <p:sp>
            <p:nvSpPr>
              <p:cNvPr id="1148" name="îṧľîḋé"/>
              <p:cNvSpPr txBox="1"/>
              <p:nvPr/>
            </p:nvSpPr>
            <p:spPr>
              <a:xfrm>
                <a:off x="1296567" y="1835355"/>
                <a:ext cx="6990140" cy="38942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600" dirty="0"/>
                  <a:t>基于时钟中断的抢占式优先级调度</a:t>
                </a:r>
              </a:p>
            </p:txBody>
          </p:sp>
          <p:sp>
            <p:nvSpPr>
              <p:cNvPr id="1149" name="íşļîḓé"/>
              <p:cNvSpPr/>
              <p:nvPr/>
            </p:nvSpPr>
            <p:spPr bwMode="auto">
              <a:xfrm>
                <a:off x="1296567" y="2279078"/>
                <a:ext cx="6453960" cy="10700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32000"/>
                  </a:lnSpc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400" dirty="0"/>
                  <a:t>响应时间：几十毫秒至几毫秒</a:t>
                </a:r>
              </a:p>
              <a:p>
                <a:pPr marL="342900" lvl="1" indent="-342900">
                  <a:lnSpc>
                    <a:spcPct val="132000"/>
                  </a:lnSpc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400" dirty="0"/>
                  <a:t>可用于大多数实时系统</a:t>
                </a:r>
              </a:p>
            </p:txBody>
          </p:sp>
        </p:grpSp>
        <p:grpSp>
          <p:nvGrpSpPr>
            <p:cNvPr id="1145" name="ïS1íḋé"/>
            <p:cNvGrpSpPr/>
            <p:nvPr/>
          </p:nvGrpSpPr>
          <p:grpSpPr>
            <a:xfrm>
              <a:off x="660400" y="1787149"/>
              <a:ext cx="497734" cy="497734"/>
              <a:chOff x="660400" y="1787149"/>
              <a:chExt cx="497734" cy="497734"/>
            </a:xfrm>
          </p:grpSpPr>
          <p:sp>
            <p:nvSpPr>
              <p:cNvPr id="1146" name="islîḋe"/>
              <p:cNvSpPr/>
              <p:nvPr/>
            </p:nvSpPr>
            <p:spPr>
              <a:xfrm>
                <a:off x="660400" y="1787149"/>
                <a:ext cx="497734" cy="497734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47" name="îŝlîďe"/>
              <p:cNvSpPr/>
              <p:nvPr/>
            </p:nvSpPr>
            <p:spPr>
              <a:xfrm>
                <a:off x="779848" y="1918584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572" name="iŝļïḓê"/>
          <p:cNvGrpSpPr/>
          <p:nvPr/>
        </p:nvGrpSpPr>
        <p:grpSpPr>
          <a:xfrm>
            <a:off x="660400" y="3994675"/>
            <a:ext cx="6297847" cy="1243151"/>
            <a:chOff x="660400" y="2092935"/>
            <a:chExt cx="6297847" cy="1243151"/>
          </a:xfrm>
        </p:grpSpPr>
        <p:grpSp>
          <p:nvGrpSpPr>
            <p:cNvPr id="574" name="ïṧļïḓe"/>
            <p:cNvGrpSpPr/>
            <p:nvPr/>
          </p:nvGrpSpPr>
          <p:grpSpPr>
            <a:xfrm>
              <a:off x="1296567" y="2092935"/>
              <a:ext cx="5661680" cy="1243151"/>
              <a:chOff x="1296567" y="2092935"/>
              <a:chExt cx="7140794" cy="1243151"/>
            </a:xfrm>
          </p:grpSpPr>
          <p:sp>
            <p:nvSpPr>
              <p:cNvPr id="1142" name="ïšļíďè"/>
              <p:cNvSpPr txBox="1"/>
              <p:nvPr/>
            </p:nvSpPr>
            <p:spPr>
              <a:xfrm>
                <a:off x="1296567" y="2092935"/>
                <a:ext cx="7140794" cy="38942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600" dirty="0"/>
                  <a:t>立即抢占的优先级调度</a:t>
                </a:r>
              </a:p>
            </p:txBody>
          </p:sp>
          <p:sp>
            <p:nvSpPr>
              <p:cNvPr id="1143" name="íşľíḑè"/>
              <p:cNvSpPr/>
              <p:nvPr/>
            </p:nvSpPr>
            <p:spPr bwMode="auto">
              <a:xfrm>
                <a:off x="1312811" y="2588174"/>
                <a:ext cx="6632638" cy="7479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sz="2400" dirty="0"/>
                  <a:t>响应时间：几毫秒至几百微秒</a:t>
                </a:r>
              </a:p>
              <a:p>
                <a:pPr marL="342900" lvl="1" indent="-342900">
                  <a:lnSpc>
                    <a:spcPct val="150000"/>
                  </a:lnSpc>
                  <a:buFont typeface="Wingdings" panose="05000000000000000000" pitchFamily="2" charset="2"/>
                  <a:buChar char="Ø"/>
                </a:pPr>
                <a:r>
                  <a:rPr lang="zh-CN" altLang="en-US" sz="2400" dirty="0"/>
                  <a:t>可用于有严格时间要求的实时系统</a:t>
                </a:r>
              </a:p>
            </p:txBody>
          </p:sp>
        </p:grpSp>
        <p:grpSp>
          <p:nvGrpSpPr>
            <p:cNvPr id="1139" name="ïŝľídè"/>
            <p:cNvGrpSpPr/>
            <p:nvPr/>
          </p:nvGrpSpPr>
          <p:grpSpPr>
            <a:xfrm>
              <a:off x="660400" y="2096245"/>
              <a:ext cx="497734" cy="497734"/>
              <a:chOff x="660400" y="2096245"/>
              <a:chExt cx="497734" cy="497734"/>
            </a:xfrm>
          </p:grpSpPr>
          <p:sp>
            <p:nvSpPr>
              <p:cNvPr id="1140" name="ïṡľïde"/>
              <p:cNvSpPr/>
              <p:nvPr/>
            </p:nvSpPr>
            <p:spPr>
              <a:xfrm>
                <a:off x="660400" y="2096245"/>
                <a:ext cx="497734" cy="497734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41" name="ïšliḍe"/>
              <p:cNvSpPr/>
              <p:nvPr/>
            </p:nvSpPr>
            <p:spPr>
              <a:xfrm>
                <a:off x="779848" y="2227680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  <p:cxnSp>
        <p:nvCxnSpPr>
          <p:cNvPr id="5" name="直接连接符 4"/>
          <p:cNvCxnSpPr/>
          <p:nvPr/>
        </p:nvCxnSpPr>
        <p:spPr>
          <a:xfrm>
            <a:off x="779848" y="3468506"/>
            <a:ext cx="592279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处理机调度层次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3353752" y="2070712"/>
            <a:ext cx="72005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500" dirty="0">
                <a:solidFill>
                  <a:srgbClr val="FF0000"/>
                </a:solidFill>
              </a:rPr>
              <a:t>高级</a:t>
            </a:r>
            <a:r>
              <a:rPr lang="zh-CN" altLang="en-US" sz="2500" dirty="0"/>
              <a:t>调度（长程调度</a:t>
            </a:r>
            <a:r>
              <a:rPr lang="en-US" altLang="zh-CN" sz="2500" dirty="0"/>
              <a:t>/</a:t>
            </a:r>
            <a:r>
              <a:rPr lang="zh-CN" altLang="en-US" sz="2500" dirty="0">
                <a:solidFill>
                  <a:srgbClr val="FF0000"/>
                </a:solidFill>
              </a:rPr>
              <a:t>作业</a:t>
            </a:r>
            <a:r>
              <a:rPr lang="zh-CN" altLang="en-US" sz="2500" dirty="0"/>
              <a:t>调度）</a:t>
            </a:r>
            <a:endParaRPr lang="en-US" altLang="zh-CN" sz="2500" dirty="0"/>
          </a:p>
        </p:txBody>
      </p:sp>
      <p:sp>
        <p:nvSpPr>
          <p:cNvPr id="9" name="文本框 8"/>
          <p:cNvSpPr txBox="1"/>
          <p:nvPr/>
        </p:nvSpPr>
        <p:spPr>
          <a:xfrm>
            <a:off x="4519028" y="4108936"/>
            <a:ext cx="67060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500" dirty="0">
                <a:solidFill>
                  <a:srgbClr val="00B050"/>
                </a:solidFill>
              </a:rPr>
              <a:t>中级</a:t>
            </a:r>
            <a:r>
              <a:rPr lang="zh-CN" altLang="en-US" sz="2500" dirty="0"/>
              <a:t>调度（中程调度</a:t>
            </a:r>
            <a:r>
              <a:rPr lang="en-US" altLang="zh-CN" sz="2500" dirty="0"/>
              <a:t>/</a:t>
            </a:r>
            <a:r>
              <a:rPr lang="zh-CN" altLang="en-US" sz="2500" dirty="0">
                <a:solidFill>
                  <a:srgbClr val="00B050"/>
                </a:solidFill>
              </a:rPr>
              <a:t>内存</a:t>
            </a:r>
            <a:r>
              <a:rPr lang="zh-CN" altLang="en-US" sz="2500" dirty="0"/>
              <a:t>调度）</a:t>
            </a:r>
            <a:endParaRPr lang="en-US" altLang="zh-CN" sz="2500" dirty="0"/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730643" y="2052165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257693" y="306581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880802" y="4076244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文本框 9"/>
          <p:cNvSpPr txBox="1"/>
          <p:nvPr/>
        </p:nvSpPr>
        <p:spPr>
          <a:xfrm>
            <a:off x="3880802" y="3073478"/>
            <a:ext cx="72005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500" dirty="0">
                <a:solidFill>
                  <a:srgbClr val="0000CC"/>
                </a:solidFill>
              </a:rPr>
              <a:t>低级</a:t>
            </a:r>
            <a:r>
              <a:rPr lang="zh-CN" altLang="en-US" sz="2500" dirty="0"/>
              <a:t>调度（短程调度</a:t>
            </a:r>
            <a:r>
              <a:rPr lang="en-US" altLang="zh-CN" sz="2500" dirty="0"/>
              <a:t>/</a:t>
            </a:r>
            <a:r>
              <a:rPr lang="zh-CN" altLang="en-US" sz="2500" dirty="0">
                <a:solidFill>
                  <a:srgbClr val="0000CC"/>
                </a:solidFill>
              </a:rPr>
              <a:t>进程</a:t>
            </a:r>
            <a:r>
              <a:rPr lang="zh-CN" altLang="en-US" sz="2500" dirty="0"/>
              <a:t>调度）</a:t>
            </a:r>
            <a:endParaRPr lang="en-US" altLang="zh-CN" sz="2500" dirty="0"/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图片 54"/>
          <p:cNvPicPr>
            <a:picLocks noChangeAspect="1" noChangeArrowheads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90" t="13733" r="3328" b="9589"/>
          <a:stretch>
            <a:fillRect/>
          </a:stretch>
        </p:blipFill>
        <p:spPr bwMode="auto">
          <a:xfrm>
            <a:off x="1074198" y="3960149"/>
            <a:ext cx="7026274" cy="2170733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</p:pic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最早截止时间优先</a:t>
            </a:r>
            <a:r>
              <a:rPr lang="en-US" altLang="zh-CN" sz="2800" b="1" dirty="0">
                <a:solidFill>
                  <a:schemeClr val="bg1"/>
                </a:solidFill>
              </a:rPr>
              <a:t>(EDF)</a:t>
            </a:r>
            <a:r>
              <a:rPr lang="zh-CN" altLang="en-US" sz="2800" b="1" dirty="0">
                <a:solidFill>
                  <a:schemeClr val="bg1"/>
                </a:solidFill>
              </a:rPr>
              <a:t>调度算法</a:t>
            </a:r>
          </a:p>
        </p:txBody>
      </p:sp>
      <p:sp>
        <p:nvSpPr>
          <p:cNvPr id="26" name="矩形 25"/>
          <p:cNvSpPr/>
          <p:nvPr/>
        </p:nvSpPr>
        <p:spPr>
          <a:xfrm>
            <a:off x="1607693" y="2559792"/>
            <a:ext cx="1109625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latin typeface="+mj-ea"/>
              </a:rPr>
              <a:t>非抢占式调度用于非周期实时任务</a:t>
            </a:r>
          </a:p>
        </p:txBody>
      </p:sp>
      <p:sp>
        <p:nvSpPr>
          <p:cNvPr id="29" name="矩形 28"/>
          <p:cNvSpPr/>
          <p:nvPr/>
        </p:nvSpPr>
        <p:spPr>
          <a:xfrm>
            <a:off x="1607693" y="3178917"/>
            <a:ext cx="572526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latin typeface="+mj-ea"/>
              </a:rPr>
              <a:t>抢占式调度用户周期实时任务</a:t>
            </a:r>
          </a:p>
        </p:txBody>
      </p:sp>
      <p:pic>
        <p:nvPicPr>
          <p:cNvPr id="32" name="图片 3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94210" y="1265482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94210" y="1850622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94210" y="250609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94210" y="3124564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42" name="矩形 41"/>
          <p:cNvSpPr/>
          <p:nvPr/>
        </p:nvSpPr>
        <p:spPr>
          <a:xfrm>
            <a:off x="1607693" y="1299760"/>
            <a:ext cx="102617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EDF</a:t>
            </a:r>
            <a:r>
              <a:rPr lang="zh-CN" altLang="en-US" sz="2400" dirty="0">
                <a:latin typeface="+mj-ea"/>
              </a:rPr>
              <a:t>根据任务的截止时间确定优先级，截止时间越早，优先级越高</a:t>
            </a:r>
          </a:p>
        </p:txBody>
      </p:sp>
      <p:sp>
        <p:nvSpPr>
          <p:cNvPr id="43" name="矩形 42"/>
          <p:cNvSpPr/>
          <p:nvPr/>
        </p:nvSpPr>
        <p:spPr>
          <a:xfrm>
            <a:off x="1607692" y="1884888"/>
            <a:ext cx="926745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FF0000"/>
                </a:solidFill>
                <a:latin typeface="+mj-ea"/>
              </a:rPr>
              <a:t>既可用于抢占式调度，也可用于非抢占式调度</a:t>
            </a:r>
          </a:p>
        </p:txBody>
      </p:sp>
      <p:sp>
        <p:nvSpPr>
          <p:cNvPr id="45" name="圆角矩形标注 3"/>
          <p:cNvSpPr/>
          <p:nvPr/>
        </p:nvSpPr>
        <p:spPr>
          <a:xfrm>
            <a:off x="7696200" y="3934089"/>
            <a:ext cx="1728788" cy="611188"/>
          </a:xfrm>
          <a:prstGeom prst="wedgeRoundRectCallout">
            <a:avLst>
              <a:gd name="adj1" fmla="val -77307"/>
              <a:gd name="adj2" fmla="val 11432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dirty="0"/>
              <a:t>非抢占式调度</a:t>
            </a: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抢占式</a:t>
            </a:r>
            <a:r>
              <a:rPr lang="en-US" altLang="zh-CN" sz="2800" b="1" dirty="0">
                <a:solidFill>
                  <a:schemeClr val="bg1"/>
                </a:solidFill>
              </a:rPr>
              <a:t>EDF</a:t>
            </a:r>
            <a:r>
              <a:rPr lang="zh-CN" altLang="en-US" sz="2800" b="1" dirty="0">
                <a:solidFill>
                  <a:schemeClr val="bg1"/>
                </a:solidFill>
              </a:rPr>
              <a:t>例子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21"/>
          <a:stretch>
            <a:fillRect/>
          </a:stretch>
        </p:blipFill>
        <p:spPr bwMode="auto">
          <a:xfrm>
            <a:off x="1608667" y="1100366"/>
            <a:ext cx="8572500" cy="50887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最低松弛度优先</a:t>
            </a:r>
            <a:r>
              <a:rPr lang="en-US" altLang="zh-CN" sz="2800" b="1" dirty="0">
                <a:solidFill>
                  <a:schemeClr val="bg1"/>
                </a:solidFill>
              </a:rPr>
              <a:t>LLF</a:t>
            </a:r>
            <a:r>
              <a:rPr lang="zh-CN" altLang="en-US" sz="2800" b="1" dirty="0">
                <a:solidFill>
                  <a:schemeClr val="bg1"/>
                </a:solidFill>
              </a:rPr>
              <a:t>算法</a:t>
            </a:r>
          </a:p>
        </p:txBody>
      </p:sp>
      <p:sp>
        <p:nvSpPr>
          <p:cNvPr id="5" name="i$lîďê"/>
          <p:cNvSpPr/>
          <p:nvPr/>
        </p:nvSpPr>
        <p:spPr>
          <a:xfrm>
            <a:off x="1802479" y="3390243"/>
            <a:ext cx="4882406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800" dirty="0"/>
              <a:t>主要用在抢占式调度方式中</a:t>
            </a:r>
          </a:p>
        </p:txBody>
      </p:sp>
      <p:sp>
        <p:nvSpPr>
          <p:cNvPr id="6" name="î$ļíḋè"/>
          <p:cNvSpPr/>
          <p:nvPr/>
        </p:nvSpPr>
        <p:spPr>
          <a:xfrm>
            <a:off x="1802478" y="4989804"/>
            <a:ext cx="9605329" cy="104040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两个周期性实时任务</a:t>
            </a:r>
            <a:r>
              <a:rPr lang="en-US" altLang="zh-CN" sz="2400" dirty="0"/>
              <a:t>A</a:t>
            </a:r>
            <a:r>
              <a:rPr lang="zh-CN" altLang="en-US" sz="2400" dirty="0"/>
              <a:t>和</a:t>
            </a:r>
            <a:r>
              <a:rPr lang="en-US" altLang="zh-CN" sz="2400" dirty="0"/>
              <a:t>B</a:t>
            </a:r>
            <a:r>
              <a:rPr lang="zh-CN" altLang="en-US" sz="2400" dirty="0"/>
              <a:t>，任务</a:t>
            </a:r>
            <a:r>
              <a:rPr lang="en-US" altLang="zh-CN" sz="2400" dirty="0"/>
              <a:t>A</a:t>
            </a:r>
            <a:r>
              <a:rPr lang="zh-CN" altLang="en-US" sz="2400" dirty="0"/>
              <a:t>要求每</a:t>
            </a:r>
            <a:r>
              <a:rPr lang="en-US" altLang="zh-CN" sz="2400" dirty="0"/>
              <a:t>20 </a:t>
            </a:r>
            <a:r>
              <a:rPr lang="en-US" altLang="zh-CN" sz="2400" dirty="0" err="1"/>
              <a:t>ms</a:t>
            </a:r>
            <a:r>
              <a:rPr lang="zh-CN" altLang="en-US" sz="2400" dirty="0"/>
              <a:t>执行一次，执行时间为</a:t>
            </a:r>
            <a:r>
              <a:rPr lang="en-US" altLang="zh-CN" sz="2400" dirty="0"/>
              <a:t>10 </a:t>
            </a:r>
            <a:r>
              <a:rPr lang="en-US" altLang="zh-CN" sz="2400" dirty="0" err="1"/>
              <a:t>ms</a:t>
            </a:r>
            <a:r>
              <a:rPr lang="zh-CN" altLang="en-US" sz="2400" dirty="0"/>
              <a:t>，任务</a:t>
            </a:r>
            <a:r>
              <a:rPr lang="en-US" altLang="zh-CN" sz="2400" dirty="0"/>
              <a:t>B</a:t>
            </a:r>
            <a:r>
              <a:rPr lang="zh-CN" altLang="en-US" sz="2400" dirty="0"/>
              <a:t>要求每</a:t>
            </a:r>
            <a:r>
              <a:rPr lang="en-US" altLang="zh-CN" sz="2400" dirty="0"/>
              <a:t>50 </a:t>
            </a:r>
            <a:r>
              <a:rPr lang="en-US" altLang="zh-CN" sz="2400" dirty="0" err="1"/>
              <a:t>ms</a:t>
            </a:r>
            <a:r>
              <a:rPr lang="zh-CN" altLang="en-US" sz="2400" dirty="0"/>
              <a:t>执行一次，执行时间为</a:t>
            </a:r>
            <a:r>
              <a:rPr lang="en-US" altLang="zh-CN" sz="2400" dirty="0"/>
              <a:t>25 </a:t>
            </a:r>
            <a:r>
              <a:rPr lang="en-US" altLang="zh-CN" sz="2400" dirty="0" err="1"/>
              <a:t>ms</a:t>
            </a:r>
            <a:endParaRPr lang="en-US" altLang="zh-CN" sz="2400" dirty="0"/>
          </a:p>
        </p:txBody>
      </p:sp>
      <p:sp>
        <p:nvSpPr>
          <p:cNvPr id="7" name="ïṧḷïḋè"/>
          <p:cNvSpPr/>
          <p:nvPr/>
        </p:nvSpPr>
        <p:spPr>
          <a:xfrm>
            <a:off x="1802479" y="4477029"/>
            <a:ext cx="4882406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800" dirty="0"/>
              <a:t>例子：</a:t>
            </a:r>
          </a:p>
        </p:txBody>
      </p:sp>
      <p:sp>
        <p:nvSpPr>
          <p:cNvPr id="8" name="íšḻíḑê"/>
          <p:cNvSpPr/>
          <p:nvPr/>
        </p:nvSpPr>
        <p:spPr>
          <a:xfrm>
            <a:off x="1802478" y="1469877"/>
            <a:ext cx="9080289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800" dirty="0"/>
              <a:t>根据任务的紧急程度（</a:t>
            </a:r>
            <a:r>
              <a:rPr lang="zh-CN" altLang="en-US" sz="2800" dirty="0">
                <a:solidFill>
                  <a:srgbClr val="FF0000"/>
                </a:solidFill>
              </a:rPr>
              <a:t>松弛度</a:t>
            </a:r>
            <a:r>
              <a:rPr lang="zh-CN" altLang="en-US" sz="2800" dirty="0"/>
              <a:t>）确定任务优先级</a:t>
            </a:r>
          </a:p>
        </p:txBody>
      </p:sp>
      <p:sp>
        <p:nvSpPr>
          <p:cNvPr id="9" name="îSļiḓè"/>
          <p:cNvSpPr/>
          <p:nvPr/>
        </p:nvSpPr>
        <p:spPr>
          <a:xfrm>
            <a:off x="1118977" y="1347994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0" name="íṥḻîḓe"/>
          <p:cNvSpPr/>
          <p:nvPr/>
        </p:nvSpPr>
        <p:spPr>
          <a:xfrm>
            <a:off x="1118975" y="4394427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1" name="îşļiḓè"/>
          <p:cNvSpPr/>
          <p:nvPr/>
        </p:nvSpPr>
        <p:spPr>
          <a:xfrm>
            <a:off x="1121423" y="3286834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ṡḷíďe"/>
          <p:cNvSpPr/>
          <p:nvPr/>
        </p:nvSpPr>
        <p:spPr>
          <a:xfrm>
            <a:off x="1309232" y="1544132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/>
        </p:nvSpPr>
        <p:spPr>
          <a:xfrm>
            <a:off x="1311677" y="3508851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/>
        </p:nvSpPr>
        <p:spPr>
          <a:xfrm>
            <a:off x="1338168" y="4583887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6" name="íšḻîḋè"/>
          <p:cNvSpPr/>
          <p:nvPr/>
        </p:nvSpPr>
        <p:spPr>
          <a:xfrm>
            <a:off x="1746844" y="1963686"/>
            <a:ext cx="10344542" cy="105676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600" dirty="0"/>
              <a:t>紧急程度越高（松弛度越低），优先级越高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600" dirty="0"/>
              <a:t>松弛度</a:t>
            </a:r>
            <a:r>
              <a:rPr lang="en-US" altLang="zh-CN" sz="2600" dirty="0"/>
              <a:t>=</a:t>
            </a:r>
            <a:r>
              <a:rPr lang="zh-CN" altLang="en-US" sz="2600" dirty="0"/>
              <a:t>必须完成时间－其本身的运行时间－当前时间</a:t>
            </a: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LLF</a:t>
            </a:r>
            <a:r>
              <a:rPr lang="zh-CN" altLang="en-US" sz="2800" b="1" dirty="0">
                <a:solidFill>
                  <a:schemeClr val="bg1"/>
                </a:solidFill>
              </a:rPr>
              <a:t>例子</a:t>
            </a:r>
          </a:p>
        </p:txBody>
      </p:sp>
      <p:pic>
        <p:nvPicPr>
          <p:cNvPr id="23" name="图片 22"/>
          <p:cNvPicPr>
            <a:picLocks noChangeAspect="1"/>
          </p:cNvPicPr>
          <p:nvPr/>
        </p:nvPicPr>
        <p:blipFill rotWithShape="1">
          <a:blip r:embed="rId2"/>
          <a:srcRect t="7032" b="3401"/>
          <a:stretch>
            <a:fillRect/>
          </a:stretch>
        </p:blipFill>
        <p:spPr>
          <a:xfrm>
            <a:off x="762632" y="1251752"/>
            <a:ext cx="10290001" cy="2381435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</p:pic>
      <p:pic>
        <p:nvPicPr>
          <p:cNvPr id="26" name="图片 25"/>
          <p:cNvPicPr>
            <a:picLocks noChangeAspect="1"/>
          </p:cNvPicPr>
          <p:nvPr/>
        </p:nvPicPr>
        <p:blipFill rotWithShape="1">
          <a:blip r:embed="rId3"/>
          <a:srcRect t="10320" b="4532"/>
          <a:stretch>
            <a:fillRect/>
          </a:stretch>
        </p:blipFill>
        <p:spPr>
          <a:xfrm>
            <a:off x="762633" y="3811229"/>
            <a:ext cx="10290000" cy="2261098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</p:pic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优先级倒置现象</a:t>
            </a:r>
          </a:p>
        </p:txBody>
      </p:sp>
      <p:sp>
        <p:nvSpPr>
          <p:cNvPr id="5" name="iṥlídè"/>
          <p:cNvSpPr/>
          <p:nvPr/>
        </p:nvSpPr>
        <p:spPr>
          <a:xfrm>
            <a:off x="6958245" y="1128057"/>
            <a:ext cx="5233755" cy="5008286"/>
          </a:xfrm>
          <a:prstGeom prst="rect">
            <a:avLst/>
          </a:prstGeom>
          <a:blipFill>
            <a:blip r:embed="rId2"/>
            <a:stretch>
              <a:fillRect t="-27413" b="-27272"/>
            </a:stretch>
          </a:blipFill>
          <a:ln w="28575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zh-CN" altLang="en-US" dirty="0"/>
          </a:p>
        </p:txBody>
      </p:sp>
      <p:grpSp>
        <p:nvGrpSpPr>
          <p:cNvPr id="6" name="iṡļiḓe"/>
          <p:cNvGrpSpPr/>
          <p:nvPr/>
        </p:nvGrpSpPr>
        <p:grpSpPr>
          <a:xfrm>
            <a:off x="669925" y="1536504"/>
            <a:ext cx="6178397" cy="1579555"/>
            <a:chOff x="660400" y="1737697"/>
            <a:chExt cx="6178397" cy="1579555"/>
          </a:xfrm>
        </p:grpSpPr>
        <p:sp>
          <p:nvSpPr>
            <p:cNvPr id="11" name="îṧľîḋé"/>
            <p:cNvSpPr txBox="1"/>
            <p:nvPr/>
          </p:nvSpPr>
          <p:spPr>
            <a:xfrm>
              <a:off x="1296567" y="1737697"/>
              <a:ext cx="5542230" cy="157955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2600" dirty="0"/>
                <a:t>采用优先级调度和抢占方式，可能产生</a:t>
              </a:r>
              <a:r>
                <a:rPr lang="zh-CN" altLang="en-US" sz="2600" dirty="0">
                  <a:solidFill>
                    <a:srgbClr val="FF0000"/>
                  </a:solidFill>
                </a:rPr>
                <a:t>优先级倒置</a:t>
              </a:r>
              <a:r>
                <a:rPr lang="zh-CN" altLang="en-US" sz="2600" dirty="0"/>
                <a:t>。现象：高优先级进程被低优先级进程延迟或阻塞。</a:t>
              </a:r>
            </a:p>
          </p:txBody>
        </p:sp>
        <p:grpSp>
          <p:nvGrpSpPr>
            <p:cNvPr id="8" name="ïS1íḋé"/>
            <p:cNvGrpSpPr/>
            <p:nvPr/>
          </p:nvGrpSpPr>
          <p:grpSpPr>
            <a:xfrm>
              <a:off x="660400" y="1787149"/>
              <a:ext cx="497734" cy="497734"/>
              <a:chOff x="660400" y="1787149"/>
              <a:chExt cx="497734" cy="497734"/>
            </a:xfrm>
          </p:grpSpPr>
          <p:sp>
            <p:nvSpPr>
              <p:cNvPr id="9" name="islîḋe"/>
              <p:cNvSpPr/>
              <p:nvPr/>
            </p:nvSpPr>
            <p:spPr>
              <a:xfrm>
                <a:off x="660400" y="1787149"/>
                <a:ext cx="497734" cy="497734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" name="îŝlîďe"/>
              <p:cNvSpPr/>
              <p:nvPr/>
            </p:nvSpPr>
            <p:spPr>
              <a:xfrm>
                <a:off x="779848" y="1918584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3" name="iŝļïḓê"/>
          <p:cNvGrpSpPr/>
          <p:nvPr/>
        </p:nvGrpSpPr>
        <p:grpSpPr>
          <a:xfrm>
            <a:off x="727607" y="3723296"/>
            <a:ext cx="6297847" cy="1243151"/>
            <a:chOff x="660400" y="2092935"/>
            <a:chExt cx="6297847" cy="1243151"/>
          </a:xfrm>
        </p:grpSpPr>
        <p:grpSp>
          <p:nvGrpSpPr>
            <p:cNvPr id="14" name="ïṧļïḓe"/>
            <p:cNvGrpSpPr/>
            <p:nvPr/>
          </p:nvGrpSpPr>
          <p:grpSpPr>
            <a:xfrm>
              <a:off x="1296567" y="2092935"/>
              <a:ext cx="5661680" cy="1243151"/>
              <a:chOff x="1296567" y="2092935"/>
              <a:chExt cx="7140794" cy="1243151"/>
            </a:xfrm>
          </p:grpSpPr>
          <p:sp>
            <p:nvSpPr>
              <p:cNvPr id="18" name="ïšļíďè"/>
              <p:cNvSpPr txBox="1"/>
              <p:nvPr/>
            </p:nvSpPr>
            <p:spPr>
              <a:xfrm>
                <a:off x="1296567" y="2092935"/>
                <a:ext cx="7140794" cy="38942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600" dirty="0">
                    <a:solidFill>
                      <a:srgbClr val="0000FF"/>
                    </a:solidFill>
                  </a:rPr>
                  <a:t>解决方法：</a:t>
                </a:r>
              </a:p>
            </p:txBody>
          </p:sp>
          <p:sp>
            <p:nvSpPr>
              <p:cNvPr id="19" name="íşľíḑè"/>
              <p:cNvSpPr/>
              <p:nvPr/>
            </p:nvSpPr>
            <p:spPr bwMode="auto">
              <a:xfrm>
                <a:off x="1312811" y="2588174"/>
                <a:ext cx="6632638" cy="7479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20000"/>
                  </a:lnSpc>
                  <a:spcBef>
                    <a:spcPts val="600"/>
                  </a:spcBef>
                  <a:buFont typeface="Wingdings" panose="05000000000000000000" pitchFamily="2" charset="2"/>
                  <a:buChar char="Ø"/>
                </a:pPr>
                <a:r>
                  <a:rPr lang="zh-CN" altLang="en-US" sz="2400" dirty="0"/>
                  <a:t>制定一些规定，如规定低优先级进程执行后，其所占用的处理机不允许被抢占；</a:t>
                </a:r>
              </a:p>
              <a:p>
                <a:pPr marL="342900" lvl="1" indent="-342900">
                  <a:lnSpc>
                    <a:spcPct val="120000"/>
                  </a:lnSpc>
                  <a:spcBef>
                    <a:spcPts val="600"/>
                  </a:spcBef>
                  <a:buFont typeface="Wingdings" panose="05000000000000000000" pitchFamily="2" charset="2"/>
                  <a:buChar char="Ø"/>
                </a:pPr>
                <a:r>
                  <a:rPr lang="zh-CN" altLang="en-US" sz="2400" dirty="0"/>
                  <a:t>建立动态优先级继承。</a:t>
                </a:r>
              </a:p>
            </p:txBody>
          </p:sp>
        </p:grpSp>
        <p:grpSp>
          <p:nvGrpSpPr>
            <p:cNvPr id="15" name="ïŝľídè"/>
            <p:cNvGrpSpPr/>
            <p:nvPr/>
          </p:nvGrpSpPr>
          <p:grpSpPr>
            <a:xfrm>
              <a:off x="660400" y="2096245"/>
              <a:ext cx="497734" cy="497734"/>
              <a:chOff x="660400" y="2096245"/>
              <a:chExt cx="497734" cy="497734"/>
            </a:xfrm>
          </p:grpSpPr>
          <p:sp>
            <p:nvSpPr>
              <p:cNvPr id="16" name="ïṡľïde"/>
              <p:cNvSpPr/>
              <p:nvPr/>
            </p:nvSpPr>
            <p:spPr>
              <a:xfrm>
                <a:off x="660400" y="2096245"/>
                <a:ext cx="497734" cy="497734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" name="ïšliḍe"/>
              <p:cNvSpPr/>
              <p:nvPr/>
            </p:nvSpPr>
            <p:spPr>
              <a:xfrm>
                <a:off x="779848" y="2227680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  <p:cxnSp>
        <p:nvCxnSpPr>
          <p:cNvPr id="21" name="直接连接符 20"/>
          <p:cNvCxnSpPr/>
          <p:nvPr/>
        </p:nvCxnSpPr>
        <p:spPr>
          <a:xfrm>
            <a:off x="779848" y="3468506"/>
            <a:ext cx="592279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47623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  <a:ea typeface="+mj-ea"/>
              </a:rPr>
              <a:t>3.1 </a:t>
            </a:r>
            <a:r>
              <a:rPr lang="zh-CN" altLang="en-US" sz="2400" dirty="0">
                <a:latin typeface="+mj-ea"/>
                <a:ea typeface="+mj-ea"/>
              </a:rPr>
              <a:t>处理机调度概述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114413"/>
            <a:ext cx="368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3.2 </a:t>
            </a:r>
            <a:r>
              <a:rPr lang="zh-CN" altLang="en-US" sz="2400" dirty="0">
                <a:latin typeface="+mj-ea"/>
              </a:rPr>
              <a:t>调度算法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73353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3.3 </a:t>
            </a:r>
            <a:r>
              <a:rPr lang="zh-CN" altLang="en-US" sz="2400" dirty="0">
                <a:latin typeface="+mj-ea"/>
              </a:rPr>
              <a:t>实时调度</a:t>
            </a:r>
            <a:endParaRPr lang="en-US" altLang="zh-CN" sz="2400" dirty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352663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</a:rPr>
              <a:t>3.4 Linux</a:t>
            </a:r>
            <a:r>
              <a:rPr lang="zh-CN" altLang="en-US" sz="2400" b="1" dirty="0">
                <a:solidFill>
                  <a:srgbClr val="0000FF"/>
                </a:solidFill>
                <a:latin typeface="+mj-ea"/>
              </a:rPr>
              <a:t>进程调度</a:t>
            </a:r>
            <a:endParaRPr lang="en-US" altLang="zh-CN" sz="2400" b="1" dirty="0">
              <a:solidFill>
                <a:srgbClr val="0000FF"/>
              </a:solidFill>
              <a:latin typeface="+mj-ea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1696469" y="3971788"/>
            <a:ext cx="547877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3.5 </a:t>
            </a:r>
            <a:r>
              <a:rPr lang="zh-CN" altLang="en-US" sz="2400" dirty="0">
                <a:latin typeface="+mj-ea"/>
              </a:rPr>
              <a:t>死锁概述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590913"/>
            <a:ext cx="368215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3.6 </a:t>
            </a:r>
            <a:r>
              <a:rPr lang="zh-CN" altLang="en-US" sz="2400" dirty="0">
                <a:latin typeface="+mj-ea"/>
              </a:rPr>
              <a:t>预防死锁</a:t>
            </a:r>
          </a:p>
        </p:txBody>
      </p:sp>
      <p:sp>
        <p:nvSpPr>
          <p:cNvPr id="29" name="矩形 28"/>
          <p:cNvSpPr/>
          <p:nvPr/>
        </p:nvSpPr>
        <p:spPr>
          <a:xfrm>
            <a:off x="1696469" y="5210038"/>
            <a:ext cx="28662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3.7 </a:t>
            </a:r>
            <a:r>
              <a:rPr lang="zh-CN" altLang="en-US" sz="2400" dirty="0">
                <a:latin typeface="+mj-ea"/>
              </a:rPr>
              <a:t>避免死锁</a:t>
            </a:r>
          </a:p>
        </p:txBody>
      </p:sp>
      <p:sp>
        <p:nvSpPr>
          <p:cNvPr id="3" name="矩形 2"/>
          <p:cNvSpPr/>
          <p:nvPr/>
        </p:nvSpPr>
        <p:spPr>
          <a:xfrm>
            <a:off x="6466113" y="2386337"/>
            <a:ext cx="519169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3</a:t>
            </a:r>
            <a:r>
              <a:rPr lang="zh-CN" altLang="en-US" sz="3600" dirty="0">
                <a:solidFill>
                  <a:srgbClr val="000000"/>
                </a:solidFill>
              </a:rPr>
              <a:t>章 处理机调度与死锁</a:t>
            </a:r>
            <a:endParaRPr lang="zh-CN" altLang="en-US" sz="3600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6640497" y="3190471"/>
            <a:ext cx="490662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4392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02436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67983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29831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92439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56210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516282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33" name="矩形 32"/>
          <p:cNvSpPr/>
          <p:nvPr/>
        </p:nvSpPr>
        <p:spPr>
          <a:xfrm>
            <a:off x="1696468" y="5863246"/>
            <a:ext cx="421914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3.8 </a:t>
            </a:r>
            <a:r>
              <a:rPr lang="zh-CN" altLang="en-US" sz="2400" dirty="0">
                <a:latin typeface="+mj-ea"/>
              </a:rPr>
              <a:t>死锁的检测与解除</a:t>
            </a:r>
          </a:p>
        </p:txBody>
      </p:sp>
      <p:pic>
        <p:nvPicPr>
          <p:cNvPr id="34" name="图片 3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7" y="58160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Linux</a:t>
            </a:r>
            <a:r>
              <a:rPr lang="zh-CN" altLang="en-US" sz="2800" b="1" dirty="0">
                <a:solidFill>
                  <a:schemeClr val="bg1"/>
                </a:solidFill>
              </a:rPr>
              <a:t>进程调度（</a:t>
            </a:r>
            <a:r>
              <a:rPr lang="en-US" altLang="zh-CN" sz="2800" b="1" dirty="0">
                <a:solidFill>
                  <a:schemeClr val="bg1"/>
                </a:solidFill>
              </a:rPr>
              <a:t>1</a:t>
            </a:r>
            <a:r>
              <a:rPr lang="zh-CN" altLang="en-US" sz="2800" b="1" dirty="0">
                <a:solidFill>
                  <a:schemeClr val="bg1"/>
                </a:solidFill>
              </a:rPr>
              <a:t>）</a:t>
            </a:r>
          </a:p>
        </p:txBody>
      </p:sp>
      <p:sp>
        <p:nvSpPr>
          <p:cNvPr id="23" name="矩形 22"/>
          <p:cNvSpPr/>
          <p:nvPr/>
        </p:nvSpPr>
        <p:spPr>
          <a:xfrm>
            <a:off x="421351" y="1206373"/>
            <a:ext cx="10850563" cy="190969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indent="457200"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latin typeface="+mn-ea"/>
              </a:rPr>
              <a:t>默认调度算法：完全公平调度</a:t>
            </a:r>
            <a:r>
              <a:rPr lang="en-US" altLang="zh-CN" sz="2400" dirty="0">
                <a:latin typeface="+mn-ea"/>
              </a:rPr>
              <a:t>CFS</a:t>
            </a:r>
            <a:r>
              <a:rPr lang="zh-CN" altLang="en-US" sz="2400" dirty="0">
                <a:latin typeface="+mn-ea"/>
              </a:rPr>
              <a:t>算法。</a:t>
            </a:r>
          </a:p>
          <a:p>
            <a:pPr indent="457200"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latin typeface="+mn-ea"/>
              </a:rPr>
              <a:t>基于调度器类：允许不同的可动态添加的调度算法并存，每个类都有一个特定的优先级。</a:t>
            </a:r>
          </a:p>
        </p:txBody>
      </p:sp>
      <p:sp>
        <p:nvSpPr>
          <p:cNvPr id="26" name="íšḻíḑê"/>
          <p:cNvSpPr/>
          <p:nvPr/>
        </p:nvSpPr>
        <p:spPr>
          <a:xfrm>
            <a:off x="1710977" y="3116063"/>
            <a:ext cx="9560937" cy="77654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总调度器：根据调度器类的优先顺序，依次对调度器类中的进程进行调度。</a:t>
            </a:r>
          </a:p>
        </p:txBody>
      </p:sp>
      <p:sp>
        <p:nvSpPr>
          <p:cNvPr id="29" name="îSļiḓè"/>
          <p:cNvSpPr/>
          <p:nvPr/>
        </p:nvSpPr>
        <p:spPr>
          <a:xfrm>
            <a:off x="897036" y="3116063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32" name="íṥḻîḓe"/>
          <p:cNvSpPr/>
          <p:nvPr/>
        </p:nvSpPr>
        <p:spPr>
          <a:xfrm>
            <a:off x="897035" y="5179673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35" name="îşļiḓè"/>
          <p:cNvSpPr/>
          <p:nvPr/>
        </p:nvSpPr>
        <p:spPr>
          <a:xfrm>
            <a:off x="897035" y="4147868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40" name="îṡḷíďe"/>
          <p:cNvSpPr/>
          <p:nvPr/>
        </p:nvSpPr>
        <p:spPr>
          <a:xfrm>
            <a:off x="1087291" y="3312201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41" name="íSlíḋe"/>
          <p:cNvSpPr/>
          <p:nvPr/>
        </p:nvSpPr>
        <p:spPr>
          <a:xfrm>
            <a:off x="1087289" y="4369885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42" name="ïśḷïḓe"/>
          <p:cNvSpPr/>
          <p:nvPr/>
        </p:nvSpPr>
        <p:spPr>
          <a:xfrm>
            <a:off x="1116228" y="5369133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43" name="íšḻíḑê"/>
          <p:cNvSpPr/>
          <p:nvPr/>
        </p:nvSpPr>
        <p:spPr>
          <a:xfrm>
            <a:off x="1710977" y="4147869"/>
            <a:ext cx="9560937" cy="69046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调度器类：使用所选的调度器类算法（调度策略）进行内部的调度。</a:t>
            </a:r>
          </a:p>
        </p:txBody>
      </p:sp>
      <p:sp>
        <p:nvSpPr>
          <p:cNvPr id="44" name="íšḻíḑê"/>
          <p:cNvSpPr/>
          <p:nvPr/>
        </p:nvSpPr>
        <p:spPr>
          <a:xfrm>
            <a:off x="1710977" y="5148375"/>
            <a:ext cx="10232449" cy="69046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调度器类的默认优先级顺序为：</a:t>
            </a:r>
            <a:r>
              <a:rPr lang="en-US" altLang="zh-CN" sz="2400" dirty="0" err="1"/>
              <a:t>Stop_Task</a:t>
            </a:r>
            <a:r>
              <a:rPr lang="zh-CN" altLang="en-US" sz="2400" dirty="0"/>
              <a:t>＞</a:t>
            </a:r>
            <a:r>
              <a:rPr lang="en-US" altLang="zh-CN" sz="2400" dirty="0" err="1">
                <a:solidFill>
                  <a:srgbClr val="FF0000"/>
                </a:solidFill>
              </a:rPr>
              <a:t>Real_Time</a:t>
            </a:r>
            <a:r>
              <a:rPr lang="zh-CN" altLang="en-US" sz="2400" dirty="0"/>
              <a:t>＞</a:t>
            </a:r>
            <a:r>
              <a:rPr lang="en-US" altLang="zh-CN" sz="2400" dirty="0">
                <a:solidFill>
                  <a:srgbClr val="FF0000"/>
                </a:solidFill>
              </a:rPr>
              <a:t>Fair</a:t>
            </a:r>
            <a:r>
              <a:rPr lang="zh-CN" altLang="en-US" sz="2400" dirty="0"/>
              <a:t>＞</a:t>
            </a:r>
            <a:r>
              <a:rPr lang="en-US" altLang="zh-CN" sz="2400" dirty="0" err="1"/>
              <a:t>Idle_Task</a:t>
            </a:r>
            <a:endParaRPr lang="en-US" altLang="zh-CN" sz="2400" dirty="0"/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Linux</a:t>
            </a:r>
            <a:r>
              <a:rPr lang="zh-CN" altLang="en-US" sz="2800" b="1" dirty="0">
                <a:solidFill>
                  <a:schemeClr val="bg1"/>
                </a:solidFill>
              </a:rPr>
              <a:t>进程调度（</a:t>
            </a:r>
            <a:r>
              <a:rPr lang="en-US" altLang="zh-CN" sz="2800" b="1" dirty="0">
                <a:solidFill>
                  <a:schemeClr val="bg1"/>
                </a:solidFill>
              </a:rPr>
              <a:t>2</a:t>
            </a:r>
            <a:r>
              <a:rPr lang="zh-CN" altLang="en-US" sz="2800" b="1" dirty="0">
                <a:solidFill>
                  <a:schemeClr val="bg1"/>
                </a:solidFill>
              </a:rPr>
              <a:t>）</a:t>
            </a:r>
          </a:p>
        </p:txBody>
      </p:sp>
      <p:grpSp>
        <p:nvGrpSpPr>
          <p:cNvPr id="571" name="iṡļiḓe"/>
          <p:cNvGrpSpPr/>
          <p:nvPr/>
        </p:nvGrpSpPr>
        <p:grpSpPr>
          <a:xfrm>
            <a:off x="669925" y="1197779"/>
            <a:ext cx="10551450" cy="1562001"/>
            <a:chOff x="660400" y="1787149"/>
            <a:chExt cx="10551450" cy="1562001"/>
          </a:xfrm>
        </p:grpSpPr>
        <p:grpSp>
          <p:nvGrpSpPr>
            <p:cNvPr id="1144" name="iSḻíḓè"/>
            <p:cNvGrpSpPr/>
            <p:nvPr/>
          </p:nvGrpSpPr>
          <p:grpSpPr>
            <a:xfrm>
              <a:off x="1296566" y="1835355"/>
              <a:ext cx="9915284" cy="1513795"/>
              <a:chOff x="1296566" y="1835355"/>
              <a:chExt cx="12505656" cy="1513795"/>
            </a:xfrm>
          </p:grpSpPr>
          <p:sp>
            <p:nvSpPr>
              <p:cNvPr id="1148" name="îṧľîḋé"/>
              <p:cNvSpPr txBox="1"/>
              <p:nvPr/>
            </p:nvSpPr>
            <p:spPr>
              <a:xfrm>
                <a:off x="1296567" y="1835355"/>
                <a:ext cx="6990140" cy="38942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400" dirty="0">
                    <a:solidFill>
                      <a:srgbClr val="FF0000"/>
                    </a:solidFill>
                  </a:rPr>
                  <a:t>普通</a:t>
                </a:r>
                <a:r>
                  <a:rPr lang="zh-CN" altLang="en-US" sz="2400" dirty="0"/>
                  <a:t>进程调度：</a:t>
                </a:r>
              </a:p>
            </p:txBody>
          </p:sp>
          <p:sp>
            <p:nvSpPr>
              <p:cNvPr id="1149" name="íşļîḓé"/>
              <p:cNvSpPr/>
              <p:nvPr/>
            </p:nvSpPr>
            <p:spPr bwMode="auto">
              <a:xfrm>
                <a:off x="1296566" y="2279078"/>
                <a:ext cx="12505656" cy="10700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20000"/>
                  </a:lnSpc>
                  <a:spcBef>
                    <a:spcPts val="600"/>
                  </a:spcBef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200" dirty="0"/>
                  <a:t>采用</a:t>
                </a:r>
                <a:r>
                  <a:rPr lang="en-US" altLang="zh-CN" sz="2200" dirty="0"/>
                  <a:t>SCHED_NORMAL</a:t>
                </a:r>
                <a:r>
                  <a:rPr lang="zh-CN" altLang="en-US" sz="2200" dirty="0"/>
                  <a:t>调度策略。</a:t>
                </a:r>
              </a:p>
              <a:p>
                <a:pPr marL="342900" lvl="1" indent="-342900">
                  <a:lnSpc>
                    <a:spcPct val="120000"/>
                  </a:lnSpc>
                  <a:spcBef>
                    <a:spcPts val="600"/>
                  </a:spcBef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zh-CN" altLang="en-US" sz="2200" dirty="0"/>
                  <a:t>分配优先级、挑选进程并允许、计算使其运行多久。</a:t>
                </a:r>
              </a:p>
              <a:p>
                <a:pPr marL="342900" lvl="1" indent="-342900">
                  <a:lnSpc>
                    <a:spcPct val="120000"/>
                  </a:lnSpc>
                  <a:spcBef>
                    <a:spcPts val="600"/>
                  </a:spcBef>
                  <a:buClr>
                    <a:schemeClr val="accent4">
                      <a:lumMod val="40000"/>
                      <a:lumOff val="60000"/>
                    </a:schemeClr>
                  </a:buClr>
                  <a:buFont typeface="Wingdings" panose="05000000000000000000" pitchFamily="2" charset="2"/>
                  <a:buChar char="Ø"/>
                </a:pPr>
                <a:r>
                  <a:rPr lang="en-US" altLang="zh-CN" sz="2200" dirty="0"/>
                  <a:t>CPU</a:t>
                </a:r>
                <a:r>
                  <a:rPr lang="zh-CN" altLang="en-US" sz="2200" dirty="0"/>
                  <a:t>运行时间与友好值（</a:t>
                </a:r>
                <a:r>
                  <a:rPr lang="en-US" altLang="zh-CN" sz="2200" dirty="0"/>
                  <a:t>-20~+19</a:t>
                </a:r>
                <a:r>
                  <a:rPr lang="zh-CN" altLang="en-US" sz="2200" dirty="0"/>
                  <a:t>）有关，数值越低优先级越高。</a:t>
                </a:r>
              </a:p>
            </p:txBody>
          </p:sp>
        </p:grpSp>
        <p:grpSp>
          <p:nvGrpSpPr>
            <p:cNvPr id="1145" name="ïS1íḋé"/>
            <p:cNvGrpSpPr/>
            <p:nvPr/>
          </p:nvGrpSpPr>
          <p:grpSpPr>
            <a:xfrm>
              <a:off x="660400" y="1787149"/>
              <a:ext cx="497734" cy="497734"/>
              <a:chOff x="660400" y="1787149"/>
              <a:chExt cx="497734" cy="497734"/>
            </a:xfrm>
          </p:grpSpPr>
          <p:sp>
            <p:nvSpPr>
              <p:cNvPr id="1146" name="islîḋe"/>
              <p:cNvSpPr/>
              <p:nvPr/>
            </p:nvSpPr>
            <p:spPr>
              <a:xfrm>
                <a:off x="660400" y="1787149"/>
                <a:ext cx="497734" cy="497734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47" name="îŝlîďe"/>
              <p:cNvSpPr/>
              <p:nvPr/>
            </p:nvSpPr>
            <p:spPr>
              <a:xfrm>
                <a:off x="779848" y="1918584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572" name="iŝļïḓê"/>
          <p:cNvGrpSpPr/>
          <p:nvPr/>
        </p:nvGrpSpPr>
        <p:grpSpPr>
          <a:xfrm>
            <a:off x="660400" y="3550788"/>
            <a:ext cx="10871201" cy="1243151"/>
            <a:chOff x="660400" y="2092935"/>
            <a:chExt cx="10871201" cy="1243151"/>
          </a:xfrm>
        </p:grpSpPr>
        <p:grpSp>
          <p:nvGrpSpPr>
            <p:cNvPr id="574" name="ïṧļïḓe"/>
            <p:cNvGrpSpPr/>
            <p:nvPr/>
          </p:nvGrpSpPr>
          <p:grpSpPr>
            <a:xfrm>
              <a:off x="1296567" y="2092935"/>
              <a:ext cx="10235034" cy="1243151"/>
              <a:chOff x="1296567" y="2092935"/>
              <a:chExt cx="12908937" cy="1243151"/>
            </a:xfrm>
          </p:grpSpPr>
          <p:sp>
            <p:nvSpPr>
              <p:cNvPr id="1142" name="ïšļíďè"/>
              <p:cNvSpPr txBox="1"/>
              <p:nvPr/>
            </p:nvSpPr>
            <p:spPr>
              <a:xfrm>
                <a:off x="1296567" y="2092935"/>
                <a:ext cx="7140794" cy="38942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zh-CN" altLang="en-US" sz="2400" dirty="0">
                    <a:solidFill>
                      <a:srgbClr val="FF0000"/>
                    </a:solidFill>
                  </a:rPr>
                  <a:t>实时</a:t>
                </a:r>
                <a:r>
                  <a:rPr lang="zh-CN" altLang="en-US" sz="2400" dirty="0"/>
                  <a:t>进程调度：</a:t>
                </a:r>
              </a:p>
            </p:txBody>
          </p:sp>
          <p:sp>
            <p:nvSpPr>
              <p:cNvPr id="1143" name="íşľíḑè"/>
              <p:cNvSpPr/>
              <p:nvPr/>
            </p:nvSpPr>
            <p:spPr bwMode="auto">
              <a:xfrm>
                <a:off x="1312811" y="2588174"/>
                <a:ext cx="12892693" cy="7479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342900" lvl="1" indent="-342900">
                  <a:lnSpc>
                    <a:spcPct val="120000"/>
                  </a:lnSpc>
                  <a:spcBef>
                    <a:spcPts val="600"/>
                  </a:spcBef>
                  <a:buFont typeface="Wingdings" panose="05000000000000000000" pitchFamily="2" charset="2"/>
                  <a:buChar char="Ø"/>
                </a:pPr>
                <a:r>
                  <a:rPr lang="zh-CN" altLang="en-US" sz="2200" dirty="0">
                    <a:solidFill>
                      <a:srgbClr val="0000FF"/>
                    </a:solidFill>
                  </a:rPr>
                  <a:t>实时调度的进程比普通进程具有更高的优先级。</a:t>
                </a:r>
              </a:p>
              <a:p>
                <a:pPr marL="342900" lvl="1" indent="-342900">
                  <a:lnSpc>
                    <a:spcPct val="120000"/>
                  </a:lnSpc>
                  <a:spcBef>
                    <a:spcPts val="600"/>
                  </a:spcBef>
                  <a:buFont typeface="Wingdings" panose="05000000000000000000" pitchFamily="2" charset="2"/>
                  <a:buChar char="Ø"/>
                </a:pPr>
                <a:r>
                  <a:rPr lang="en-US" altLang="zh-CN" sz="2200" dirty="0"/>
                  <a:t>SCHED_FIFO</a:t>
                </a:r>
                <a:r>
                  <a:rPr lang="zh-CN" altLang="en-US" sz="2200" dirty="0"/>
                  <a:t>：进程若处于可执行的状态，就会一直执行，直到它自己被阻塞或者主动放弃</a:t>
                </a:r>
                <a:r>
                  <a:rPr lang="en-US" altLang="zh-CN" sz="2200" dirty="0"/>
                  <a:t>CPU</a:t>
                </a:r>
                <a:r>
                  <a:rPr lang="zh-CN" altLang="en-US" sz="2200" dirty="0"/>
                  <a:t>。</a:t>
                </a:r>
              </a:p>
              <a:p>
                <a:pPr marL="342900" lvl="1" indent="-342900">
                  <a:lnSpc>
                    <a:spcPct val="120000"/>
                  </a:lnSpc>
                  <a:spcBef>
                    <a:spcPts val="600"/>
                  </a:spcBef>
                  <a:buFont typeface="Wingdings" panose="05000000000000000000" pitchFamily="2" charset="2"/>
                  <a:buChar char="Ø"/>
                </a:pPr>
                <a:r>
                  <a:rPr lang="en-US" altLang="zh-CN" sz="2200" dirty="0"/>
                  <a:t>SCHED_RR</a:t>
                </a:r>
                <a:r>
                  <a:rPr lang="zh-CN" altLang="en-US" sz="2200" dirty="0"/>
                  <a:t>：与</a:t>
                </a:r>
                <a:r>
                  <a:rPr lang="en-US" altLang="zh-CN" sz="2200" dirty="0"/>
                  <a:t>SCHED_FIFO</a:t>
                </a:r>
                <a:r>
                  <a:rPr lang="zh-CN" altLang="en-US" sz="2200" dirty="0"/>
                  <a:t>大致相同，只是进程在耗尽其时间片后，不能再执行，而是需要接受</a:t>
                </a:r>
                <a:r>
                  <a:rPr lang="en-US" altLang="zh-CN" sz="2200" dirty="0"/>
                  <a:t>CPU</a:t>
                </a:r>
                <a:r>
                  <a:rPr lang="zh-CN" altLang="en-US" sz="2200" dirty="0"/>
                  <a:t>的调度。</a:t>
                </a:r>
              </a:p>
            </p:txBody>
          </p:sp>
        </p:grpSp>
        <p:grpSp>
          <p:nvGrpSpPr>
            <p:cNvPr id="1139" name="ïŝľídè"/>
            <p:cNvGrpSpPr/>
            <p:nvPr/>
          </p:nvGrpSpPr>
          <p:grpSpPr>
            <a:xfrm>
              <a:off x="660400" y="2096245"/>
              <a:ext cx="497734" cy="497734"/>
              <a:chOff x="660400" y="2096245"/>
              <a:chExt cx="497734" cy="497734"/>
            </a:xfrm>
          </p:grpSpPr>
          <p:sp>
            <p:nvSpPr>
              <p:cNvPr id="1140" name="ïṡľïde"/>
              <p:cNvSpPr/>
              <p:nvPr/>
            </p:nvSpPr>
            <p:spPr>
              <a:xfrm>
                <a:off x="660400" y="2096245"/>
                <a:ext cx="497734" cy="497734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41" name="ïšliḍe"/>
              <p:cNvSpPr/>
              <p:nvPr/>
            </p:nvSpPr>
            <p:spPr>
              <a:xfrm>
                <a:off x="779848" y="2227680"/>
                <a:ext cx="258838" cy="234864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</p:grpSp>
      <p:cxnSp>
        <p:nvCxnSpPr>
          <p:cNvPr id="5" name="直接连接符 4"/>
          <p:cNvCxnSpPr/>
          <p:nvPr/>
        </p:nvCxnSpPr>
        <p:spPr>
          <a:xfrm>
            <a:off x="669925" y="3318115"/>
            <a:ext cx="10861676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高级调度</a:t>
            </a:r>
          </a:p>
        </p:txBody>
      </p:sp>
      <p:sp>
        <p:nvSpPr>
          <p:cNvPr id="40" name="ïşľîďè"/>
          <p:cNvSpPr/>
          <p:nvPr/>
        </p:nvSpPr>
        <p:spPr>
          <a:xfrm>
            <a:off x="-788524" y="1134122"/>
            <a:ext cx="4669654" cy="5003800"/>
          </a:xfrm>
          <a:prstGeom prst="rect">
            <a:avLst/>
          </a:prstGeom>
          <a:blipFill>
            <a:blip r:embed="rId2"/>
            <a:stretch>
              <a:fillRect l="-30450" r="-30284"/>
            </a:stretch>
          </a:blip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41" name="îŝļiḋe"/>
          <p:cNvSpPr/>
          <p:nvPr/>
        </p:nvSpPr>
        <p:spPr>
          <a:xfrm>
            <a:off x="3224183" y="1134122"/>
            <a:ext cx="656948" cy="5003800"/>
          </a:xfrm>
          <a:prstGeom prst="rect">
            <a:avLst/>
          </a:prstGeom>
          <a:solidFill>
            <a:schemeClr val="accent1">
              <a:alpha val="70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42" name="í$1iďè"/>
          <p:cNvGrpSpPr/>
          <p:nvPr/>
        </p:nvGrpSpPr>
        <p:grpSpPr>
          <a:xfrm>
            <a:off x="3348471" y="1411869"/>
            <a:ext cx="7381904" cy="1002148"/>
            <a:chOff x="4136995" y="1408047"/>
            <a:chExt cx="7381904" cy="1002148"/>
          </a:xfrm>
        </p:grpSpPr>
        <p:sp>
          <p:nvSpPr>
            <p:cNvPr id="43" name="îslîďê"/>
            <p:cNvSpPr/>
            <p:nvPr/>
          </p:nvSpPr>
          <p:spPr>
            <a:xfrm>
              <a:off x="4136995" y="1712614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44" name="ïSḻiḍé"/>
            <p:cNvSpPr txBox="1"/>
            <p:nvPr/>
          </p:nvSpPr>
          <p:spPr>
            <a:xfrm>
              <a:off x="4882718" y="1408047"/>
              <a:ext cx="6636181" cy="100214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defRPr/>
              </a:pPr>
              <a:r>
                <a:rPr lang="zh-CN" altLang="en-US" sz="2400" dirty="0"/>
                <a:t>调度对象：</a:t>
              </a:r>
              <a:r>
                <a:rPr lang="zh-CN" altLang="en-US" sz="2400" dirty="0">
                  <a:solidFill>
                    <a:srgbClr val="FF0000"/>
                  </a:solidFill>
                </a:rPr>
                <a:t>作业</a:t>
              </a:r>
              <a:endParaRPr lang="en-US" altLang="zh-CN" sz="2400" dirty="0"/>
            </a:p>
          </p:txBody>
        </p:sp>
      </p:grpSp>
      <p:grpSp>
        <p:nvGrpSpPr>
          <p:cNvPr id="45" name="išḷîḓé"/>
          <p:cNvGrpSpPr/>
          <p:nvPr/>
        </p:nvGrpSpPr>
        <p:grpSpPr>
          <a:xfrm>
            <a:off x="3348471" y="2993448"/>
            <a:ext cx="8378932" cy="801176"/>
            <a:chOff x="4136995" y="3233565"/>
            <a:chExt cx="8378932" cy="801176"/>
          </a:xfrm>
        </p:grpSpPr>
        <p:sp>
          <p:nvSpPr>
            <p:cNvPr id="46" name="íśľïḋé"/>
            <p:cNvSpPr/>
            <p:nvPr/>
          </p:nvSpPr>
          <p:spPr>
            <a:xfrm>
              <a:off x="4136995" y="3450237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47" name="îŝľîḓè"/>
            <p:cNvSpPr txBox="1"/>
            <p:nvPr/>
          </p:nvSpPr>
          <p:spPr>
            <a:xfrm>
              <a:off x="4882718" y="3233565"/>
              <a:ext cx="7633209" cy="80117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zh-CN" altLang="en-US" sz="2400" dirty="0"/>
                <a:t>根据某种算法，决定将外存上处于后备队列中的作业调入内存，</a:t>
              </a:r>
              <a:r>
                <a:rPr lang="zh-CN" altLang="zh-CN" sz="2400" dirty="0"/>
                <a:t>并为它们创建进程和分配必要的资源。然后，将新创建的进程排在就绪队列上等待调度。</a:t>
              </a:r>
              <a:endParaRPr lang="zh-CN" altLang="en-US" sz="2400" dirty="0">
                <a:solidFill>
                  <a:srgbClr val="FF0000"/>
                </a:solidFill>
              </a:endParaRPr>
            </a:p>
          </p:txBody>
        </p:sp>
      </p:grpSp>
      <p:grpSp>
        <p:nvGrpSpPr>
          <p:cNvPr id="48" name="ïSlíḍê"/>
          <p:cNvGrpSpPr/>
          <p:nvPr/>
        </p:nvGrpSpPr>
        <p:grpSpPr>
          <a:xfrm>
            <a:off x="3348471" y="4371764"/>
            <a:ext cx="8378931" cy="1311067"/>
            <a:chOff x="4136995" y="4714289"/>
            <a:chExt cx="8378931" cy="1311067"/>
          </a:xfrm>
        </p:grpSpPr>
        <p:sp>
          <p:nvSpPr>
            <p:cNvPr id="49" name="ïsľíḓê"/>
            <p:cNvSpPr/>
            <p:nvPr/>
          </p:nvSpPr>
          <p:spPr>
            <a:xfrm>
              <a:off x="4136995" y="5187860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50" name="íṧļîḋê"/>
            <p:cNvSpPr txBox="1"/>
            <p:nvPr/>
          </p:nvSpPr>
          <p:spPr>
            <a:xfrm>
              <a:off x="4882717" y="4714289"/>
              <a:ext cx="7633209" cy="131106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defRPr/>
              </a:pPr>
              <a:r>
                <a:rPr lang="zh-CN" altLang="en-US" sz="2400" dirty="0"/>
                <a:t>主要用于多道批处理系统中，分时系统和实时系统不设置高级调度。</a:t>
              </a:r>
              <a:endParaRPr lang="en-US" altLang="zh-CN" sz="2400" dirty="0"/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中级调度</a:t>
            </a:r>
          </a:p>
        </p:txBody>
      </p:sp>
      <p:sp>
        <p:nvSpPr>
          <p:cNvPr id="221" name="i$lîďê"/>
          <p:cNvSpPr/>
          <p:nvPr/>
        </p:nvSpPr>
        <p:spPr>
          <a:xfrm>
            <a:off x="2485983" y="2986584"/>
            <a:ext cx="8833046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defRPr/>
            </a:pPr>
            <a:endParaRPr lang="en-US" altLang="zh-CN" sz="2400" dirty="0"/>
          </a:p>
        </p:txBody>
      </p:sp>
      <p:sp>
        <p:nvSpPr>
          <p:cNvPr id="223" name="ïṧḷïḋè"/>
          <p:cNvSpPr/>
          <p:nvPr/>
        </p:nvSpPr>
        <p:spPr>
          <a:xfrm>
            <a:off x="3169487" y="4371789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defRPr/>
            </a:pPr>
            <a:r>
              <a:rPr lang="zh-CN" altLang="en-US" sz="2400" dirty="0"/>
              <a:t>即“</a:t>
            </a:r>
            <a:r>
              <a:rPr lang="zh-CN" altLang="en-US" sz="2400" dirty="0">
                <a:solidFill>
                  <a:srgbClr val="FF0000"/>
                </a:solidFill>
              </a:rPr>
              <a:t>对换</a:t>
            </a:r>
            <a:r>
              <a:rPr lang="zh-CN" altLang="en-US" sz="2400" dirty="0"/>
              <a:t>” 功能</a:t>
            </a:r>
          </a:p>
        </p:txBody>
      </p:sp>
      <p:sp>
        <p:nvSpPr>
          <p:cNvPr id="225" name="íšḻíḑê"/>
          <p:cNvSpPr/>
          <p:nvPr/>
        </p:nvSpPr>
        <p:spPr>
          <a:xfrm>
            <a:off x="1992735" y="1818167"/>
            <a:ext cx="7927445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defRPr/>
            </a:pPr>
            <a:r>
              <a:rPr lang="zh-CN" altLang="en-US" sz="2400" dirty="0"/>
              <a:t>将暂不运行的进程，调至外存等待；</a:t>
            </a:r>
            <a:endParaRPr lang="en-US" altLang="zh-CN" sz="2400" dirty="0"/>
          </a:p>
        </p:txBody>
      </p:sp>
      <p:sp>
        <p:nvSpPr>
          <p:cNvPr id="226" name="îSļiḓè"/>
          <p:cNvSpPr/>
          <p:nvPr/>
        </p:nvSpPr>
        <p:spPr>
          <a:xfrm>
            <a:off x="1118978" y="1685638"/>
            <a:ext cx="627867" cy="627867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7" name="íṥḻîḓe"/>
          <p:cNvSpPr/>
          <p:nvPr/>
        </p:nvSpPr>
        <p:spPr>
          <a:xfrm>
            <a:off x="2485983" y="4289187"/>
            <a:ext cx="627867" cy="627867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8" name="îşļiḓè"/>
          <p:cNvSpPr/>
          <p:nvPr/>
        </p:nvSpPr>
        <p:spPr>
          <a:xfrm>
            <a:off x="1802481" y="2976211"/>
            <a:ext cx="627867" cy="627867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9" name="îṡḷíďe"/>
          <p:cNvSpPr/>
          <p:nvPr/>
        </p:nvSpPr>
        <p:spPr>
          <a:xfrm>
            <a:off x="1309233" y="1881776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30" name="íSlíḋe"/>
          <p:cNvSpPr/>
          <p:nvPr/>
        </p:nvSpPr>
        <p:spPr>
          <a:xfrm>
            <a:off x="1992735" y="319822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31" name="ïśḷïḓe"/>
          <p:cNvSpPr/>
          <p:nvPr/>
        </p:nvSpPr>
        <p:spPr>
          <a:xfrm>
            <a:off x="2705176" y="4478647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9" name="文本框 18"/>
          <p:cNvSpPr txBox="1"/>
          <p:nvPr/>
        </p:nvSpPr>
        <p:spPr>
          <a:xfrm>
            <a:off x="2596259" y="3070602"/>
            <a:ext cx="672039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2400" dirty="0"/>
              <a:t>将处于外存上的急需运行的进程，调入内存运行。</a:t>
            </a:r>
            <a:endParaRPr lang="en-US" altLang="zh-CN" sz="2400" dirty="0"/>
          </a:p>
        </p:txBody>
      </p:sp>
      <p:sp>
        <p:nvSpPr>
          <p:cNvPr id="21" name="矩形 20"/>
          <p:cNvSpPr/>
          <p:nvPr/>
        </p:nvSpPr>
        <p:spPr>
          <a:xfrm>
            <a:off x="7206942" y="5475767"/>
            <a:ext cx="421942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400" dirty="0"/>
              <a:t> </a:t>
            </a:r>
            <a:r>
              <a:rPr lang="zh-CN" altLang="en-US" sz="2400" dirty="0">
                <a:solidFill>
                  <a:srgbClr val="0000CC"/>
                </a:solidFill>
              </a:rPr>
              <a:t>将在</a:t>
            </a:r>
            <a:r>
              <a:rPr lang="zh-CN" altLang="en-US" sz="2400" u="sng" dirty="0">
                <a:solidFill>
                  <a:srgbClr val="0000CC"/>
                </a:solidFill>
              </a:rPr>
              <a:t>第</a:t>
            </a:r>
            <a:r>
              <a:rPr lang="en-US" altLang="zh-CN" sz="2400" u="sng" dirty="0">
                <a:solidFill>
                  <a:srgbClr val="0000CC"/>
                </a:solidFill>
              </a:rPr>
              <a:t>5</a:t>
            </a:r>
            <a:r>
              <a:rPr lang="zh-CN" altLang="en-US" sz="2400" u="sng" dirty="0">
                <a:solidFill>
                  <a:srgbClr val="0000CC"/>
                </a:solidFill>
              </a:rPr>
              <a:t>章 存储器管理</a:t>
            </a:r>
            <a:r>
              <a:rPr lang="zh-CN" altLang="en-US" sz="2400" dirty="0">
                <a:solidFill>
                  <a:srgbClr val="0000CC"/>
                </a:solidFill>
              </a:rPr>
              <a:t>中介绍</a:t>
            </a:r>
            <a:endParaRPr lang="zh-CN" altLang="en-US" sz="2400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低级调度</a:t>
            </a:r>
          </a:p>
        </p:txBody>
      </p:sp>
      <p:sp>
        <p:nvSpPr>
          <p:cNvPr id="221" name="i$lîďê"/>
          <p:cNvSpPr/>
          <p:nvPr/>
        </p:nvSpPr>
        <p:spPr>
          <a:xfrm>
            <a:off x="2485983" y="2986584"/>
            <a:ext cx="8833046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defRPr/>
            </a:pPr>
            <a:endParaRPr lang="en-US" altLang="zh-CN" sz="2400" dirty="0"/>
          </a:p>
        </p:txBody>
      </p:sp>
      <p:sp>
        <p:nvSpPr>
          <p:cNvPr id="223" name="ïṧḷïḋè"/>
          <p:cNvSpPr/>
          <p:nvPr/>
        </p:nvSpPr>
        <p:spPr>
          <a:xfrm>
            <a:off x="3333043" y="4395569"/>
            <a:ext cx="6063290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应用在于多道批处理、分时和实时</a:t>
            </a:r>
            <a:r>
              <a:rPr lang="en-US" altLang="zh-CN" sz="2400" dirty="0"/>
              <a:t>OS</a:t>
            </a:r>
          </a:p>
        </p:txBody>
      </p:sp>
      <p:sp>
        <p:nvSpPr>
          <p:cNvPr id="225" name="íšḻíḑê"/>
          <p:cNvSpPr/>
          <p:nvPr/>
        </p:nvSpPr>
        <p:spPr>
          <a:xfrm>
            <a:off x="1992735" y="1818167"/>
            <a:ext cx="7927445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调度对象：</a:t>
            </a:r>
            <a:r>
              <a:rPr lang="zh-CN" altLang="en-US" sz="2400" dirty="0">
                <a:solidFill>
                  <a:srgbClr val="FF0000"/>
                </a:solidFill>
              </a:rPr>
              <a:t>进程</a:t>
            </a:r>
            <a:endParaRPr lang="en-US" altLang="zh-CN" sz="2400" dirty="0"/>
          </a:p>
        </p:txBody>
      </p:sp>
      <p:sp>
        <p:nvSpPr>
          <p:cNvPr id="226" name="îSļiḓè"/>
          <p:cNvSpPr/>
          <p:nvPr/>
        </p:nvSpPr>
        <p:spPr>
          <a:xfrm>
            <a:off x="1118978" y="1685638"/>
            <a:ext cx="627867" cy="627867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7" name="íṥḻîḓe"/>
          <p:cNvSpPr/>
          <p:nvPr/>
        </p:nvSpPr>
        <p:spPr>
          <a:xfrm>
            <a:off x="2485983" y="4289187"/>
            <a:ext cx="627867" cy="627867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8" name="îşļiḓè"/>
          <p:cNvSpPr/>
          <p:nvPr/>
        </p:nvSpPr>
        <p:spPr>
          <a:xfrm>
            <a:off x="1802481" y="2976211"/>
            <a:ext cx="627867" cy="627867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29" name="îṡḷíďe"/>
          <p:cNvSpPr/>
          <p:nvPr/>
        </p:nvSpPr>
        <p:spPr>
          <a:xfrm>
            <a:off x="1309233" y="1881776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30" name="íSlíḋe"/>
          <p:cNvSpPr/>
          <p:nvPr/>
        </p:nvSpPr>
        <p:spPr>
          <a:xfrm>
            <a:off x="1992735" y="319822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31" name="ïśḷïḓe"/>
          <p:cNvSpPr/>
          <p:nvPr/>
        </p:nvSpPr>
        <p:spPr>
          <a:xfrm>
            <a:off x="2705176" y="4478647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9" name="文本框 18"/>
          <p:cNvSpPr txBox="1"/>
          <p:nvPr/>
        </p:nvSpPr>
        <p:spPr>
          <a:xfrm>
            <a:off x="2620602" y="3059311"/>
            <a:ext cx="883304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400" dirty="0"/>
              <a:t>根据某种调度算法，决定就绪队列中的哪个进程应获得处理机</a:t>
            </a:r>
            <a:endParaRPr lang="en-US" altLang="zh-CN" sz="2400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进程调度的任务</a:t>
            </a:r>
          </a:p>
        </p:txBody>
      </p:sp>
      <p:grpSp>
        <p:nvGrpSpPr>
          <p:cNvPr id="6" name="27239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5" y="1319182"/>
            <a:ext cx="10542572" cy="4442425"/>
            <a:chOff x="660400" y="1834087"/>
            <a:chExt cx="10542572" cy="4442425"/>
          </a:xfrm>
        </p:grpSpPr>
        <p:grpSp>
          <p:nvGrpSpPr>
            <p:cNvPr id="10" name="iṡļiḓe"/>
            <p:cNvGrpSpPr/>
            <p:nvPr/>
          </p:nvGrpSpPr>
          <p:grpSpPr>
            <a:xfrm>
              <a:off x="660400" y="1834087"/>
              <a:ext cx="6876351" cy="1254559"/>
              <a:chOff x="660400" y="1834087"/>
              <a:chExt cx="6876351" cy="1254559"/>
            </a:xfrm>
          </p:grpSpPr>
          <p:grpSp>
            <p:nvGrpSpPr>
              <p:cNvPr id="21" name="iSḻíḓè"/>
              <p:cNvGrpSpPr/>
              <p:nvPr/>
            </p:nvGrpSpPr>
            <p:grpSpPr>
              <a:xfrm>
                <a:off x="1530997" y="1834087"/>
                <a:ext cx="6005754" cy="1254559"/>
                <a:chOff x="1592242" y="1834087"/>
                <a:chExt cx="7574760" cy="1254559"/>
              </a:xfrm>
            </p:grpSpPr>
            <p:sp>
              <p:nvSpPr>
                <p:cNvPr id="25" name="îṧľîḋé"/>
                <p:cNvSpPr txBox="1"/>
                <p:nvPr/>
              </p:nvSpPr>
              <p:spPr>
                <a:xfrm>
                  <a:off x="1592242" y="1834087"/>
                  <a:ext cx="6293555" cy="389423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ctr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r>
                    <a:rPr lang="zh-CN" altLang="en-US" sz="2400" dirty="0"/>
                    <a:t>进程调度的任务</a:t>
                  </a:r>
                  <a:endParaRPr lang="en-US" altLang="zh-CN" sz="2400" dirty="0"/>
                </a:p>
              </p:txBody>
            </p:sp>
            <p:sp>
              <p:nvSpPr>
                <p:cNvPr id="26" name="íşļîḓé"/>
                <p:cNvSpPr/>
                <p:nvPr/>
              </p:nvSpPr>
              <p:spPr bwMode="auto">
                <a:xfrm>
                  <a:off x="1592242" y="2277810"/>
                  <a:ext cx="7574760" cy="81083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342900" lvl="1" indent="-342900">
                    <a:lnSpc>
                      <a:spcPct val="132000"/>
                    </a:lnSpc>
                    <a:buClr>
                      <a:schemeClr val="accent4">
                        <a:lumMod val="40000"/>
                        <a:lumOff val="60000"/>
                      </a:schemeClr>
                    </a:buClr>
                    <a:buFont typeface="Wingdings" panose="05000000000000000000" pitchFamily="2" charset="2"/>
                    <a:buChar char="Ø"/>
                  </a:pPr>
                  <a:r>
                    <a:rPr lang="zh-CN" altLang="en-US" sz="2400" dirty="0"/>
                    <a:t>保存处理机的现场信息</a:t>
                  </a:r>
                </a:p>
                <a:p>
                  <a:pPr marL="342900" lvl="1" indent="-342900">
                    <a:lnSpc>
                      <a:spcPct val="132000"/>
                    </a:lnSpc>
                    <a:buClr>
                      <a:schemeClr val="accent4">
                        <a:lumMod val="40000"/>
                        <a:lumOff val="60000"/>
                      </a:schemeClr>
                    </a:buClr>
                    <a:buFont typeface="Wingdings" panose="05000000000000000000" pitchFamily="2" charset="2"/>
                    <a:buChar char="Ø"/>
                  </a:pPr>
                  <a:r>
                    <a:rPr lang="zh-CN" altLang="en-US" sz="2400" dirty="0"/>
                    <a:t>按某种算法选取进程</a:t>
                  </a:r>
                </a:p>
                <a:p>
                  <a:pPr marL="342900" lvl="1" indent="-342900">
                    <a:lnSpc>
                      <a:spcPct val="132000"/>
                    </a:lnSpc>
                    <a:buClr>
                      <a:schemeClr val="accent4">
                        <a:lumMod val="40000"/>
                        <a:lumOff val="60000"/>
                      </a:schemeClr>
                    </a:buClr>
                    <a:buFont typeface="Wingdings" panose="05000000000000000000" pitchFamily="2" charset="2"/>
                    <a:buChar char="Ø"/>
                  </a:pPr>
                  <a:r>
                    <a:rPr lang="zh-CN" altLang="en-US" sz="2400" dirty="0"/>
                    <a:t>把处理器分配给进程</a:t>
                  </a:r>
                </a:p>
              </p:txBody>
            </p:sp>
          </p:grpSp>
          <p:grpSp>
            <p:nvGrpSpPr>
              <p:cNvPr id="22" name="ïS1íḋé"/>
              <p:cNvGrpSpPr/>
              <p:nvPr/>
            </p:nvGrpSpPr>
            <p:grpSpPr>
              <a:xfrm>
                <a:off x="660400" y="1860585"/>
                <a:ext cx="733394" cy="733394"/>
                <a:chOff x="660400" y="1860585"/>
                <a:chExt cx="733394" cy="733394"/>
              </a:xfrm>
            </p:grpSpPr>
            <p:sp>
              <p:nvSpPr>
                <p:cNvPr id="23" name="islîḋe"/>
                <p:cNvSpPr/>
                <p:nvPr/>
              </p:nvSpPr>
              <p:spPr>
                <a:xfrm>
                  <a:off x="660400" y="1860585"/>
                  <a:ext cx="733394" cy="733394"/>
                </a:xfrm>
                <a:prstGeom prst="ellipse">
                  <a:avLst/>
                </a:prstGeom>
                <a:solidFill>
                  <a:schemeClr val="accent1"/>
                </a:solidFill>
                <a:ln w="19050">
                  <a:solidFill>
                    <a:schemeClr val="bg1"/>
                  </a:solidFill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160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4" name="îŝlîďe"/>
                <p:cNvSpPr/>
                <p:nvPr/>
              </p:nvSpPr>
              <p:spPr>
                <a:xfrm>
                  <a:off x="797603" y="2045456"/>
                  <a:ext cx="381389" cy="346064"/>
                </a:xfrm>
                <a:custGeom>
                  <a:avLst/>
                  <a:gdLst>
                    <a:gd name="connsiteX0" fmla="*/ 116112 w 607919"/>
                    <a:gd name="connsiteY0" fmla="*/ 473652 h 551610"/>
                    <a:gd name="connsiteX1" fmla="*/ 118901 w 607919"/>
                    <a:gd name="connsiteY1" fmla="*/ 480423 h 551610"/>
                    <a:gd name="connsiteX2" fmla="*/ 118901 w 607919"/>
                    <a:gd name="connsiteY2" fmla="*/ 551610 h 551610"/>
                    <a:gd name="connsiteX3" fmla="*/ 55604 w 607919"/>
                    <a:gd name="connsiteY3" fmla="*/ 551610 h 551610"/>
                    <a:gd name="connsiteX4" fmla="*/ 55604 w 607919"/>
                    <a:gd name="connsiteY4" fmla="*/ 540851 h 551610"/>
                    <a:gd name="connsiteX5" fmla="*/ 65255 w 607919"/>
                    <a:gd name="connsiteY5" fmla="*/ 520583 h 551610"/>
                    <a:gd name="connsiteX6" fmla="*/ 83555 w 607919"/>
                    <a:gd name="connsiteY6" fmla="*/ 502317 h 551610"/>
                    <a:gd name="connsiteX7" fmla="*/ 109375 w 607919"/>
                    <a:gd name="connsiteY7" fmla="*/ 476545 h 551610"/>
                    <a:gd name="connsiteX8" fmla="*/ 116112 w 607919"/>
                    <a:gd name="connsiteY8" fmla="*/ 473652 h 551610"/>
                    <a:gd name="connsiteX9" fmla="*/ 199155 w 607919"/>
                    <a:gd name="connsiteY9" fmla="*/ 390799 h 551610"/>
                    <a:gd name="connsiteX10" fmla="*/ 201956 w 607919"/>
                    <a:gd name="connsiteY10" fmla="*/ 397632 h 551610"/>
                    <a:gd name="connsiteX11" fmla="*/ 201956 w 607919"/>
                    <a:gd name="connsiteY11" fmla="*/ 551610 h 551610"/>
                    <a:gd name="connsiteX12" fmla="*/ 145363 w 607919"/>
                    <a:gd name="connsiteY12" fmla="*/ 551610 h 551610"/>
                    <a:gd name="connsiteX13" fmla="*/ 145363 w 607919"/>
                    <a:gd name="connsiteY13" fmla="*/ 454170 h 551610"/>
                    <a:gd name="connsiteX14" fmla="*/ 154879 w 607919"/>
                    <a:gd name="connsiteY14" fmla="*/ 431030 h 551610"/>
                    <a:gd name="connsiteX15" fmla="*/ 192315 w 607919"/>
                    <a:gd name="connsiteY15" fmla="*/ 393630 h 551610"/>
                    <a:gd name="connsiteX16" fmla="*/ 199155 w 607919"/>
                    <a:gd name="connsiteY16" fmla="*/ 390799 h 551610"/>
                    <a:gd name="connsiteX17" fmla="*/ 231082 w 607919"/>
                    <a:gd name="connsiteY17" fmla="*/ 388245 h 551610"/>
                    <a:gd name="connsiteX18" fmla="*/ 237930 w 607919"/>
                    <a:gd name="connsiteY18" fmla="*/ 391091 h 551610"/>
                    <a:gd name="connsiteX19" fmla="*/ 266763 w 607919"/>
                    <a:gd name="connsiteY19" fmla="*/ 419867 h 551610"/>
                    <a:gd name="connsiteX20" fmla="*/ 275915 w 607919"/>
                    <a:gd name="connsiteY20" fmla="*/ 428875 h 551610"/>
                    <a:gd name="connsiteX21" fmla="*/ 284941 w 607919"/>
                    <a:gd name="connsiteY21" fmla="*/ 451520 h 551610"/>
                    <a:gd name="connsiteX22" fmla="*/ 284941 w 607919"/>
                    <a:gd name="connsiteY22" fmla="*/ 551610 h 551610"/>
                    <a:gd name="connsiteX23" fmla="*/ 228277 w 607919"/>
                    <a:gd name="connsiteY23" fmla="*/ 551610 h 551610"/>
                    <a:gd name="connsiteX24" fmla="*/ 228277 w 607919"/>
                    <a:gd name="connsiteY24" fmla="*/ 394969 h 551610"/>
                    <a:gd name="connsiteX25" fmla="*/ 231082 w 607919"/>
                    <a:gd name="connsiteY25" fmla="*/ 388245 h 551610"/>
                    <a:gd name="connsiteX26" fmla="*/ 365148 w 607919"/>
                    <a:gd name="connsiteY26" fmla="*/ 381336 h 551610"/>
                    <a:gd name="connsiteX27" fmla="*/ 367997 w 607919"/>
                    <a:gd name="connsiteY27" fmla="*/ 388122 h 551610"/>
                    <a:gd name="connsiteX28" fmla="*/ 367997 w 607919"/>
                    <a:gd name="connsiteY28" fmla="*/ 551610 h 551610"/>
                    <a:gd name="connsiteX29" fmla="*/ 311262 w 607919"/>
                    <a:gd name="connsiteY29" fmla="*/ 551610 h 551610"/>
                    <a:gd name="connsiteX30" fmla="*/ 311262 w 607919"/>
                    <a:gd name="connsiteY30" fmla="*/ 444661 h 551610"/>
                    <a:gd name="connsiteX31" fmla="*/ 316898 w 607919"/>
                    <a:gd name="connsiteY31" fmla="*/ 425523 h 551610"/>
                    <a:gd name="connsiteX32" fmla="*/ 322534 w 607919"/>
                    <a:gd name="connsiteY32" fmla="*/ 419894 h 551610"/>
                    <a:gd name="connsiteX33" fmla="*/ 358353 w 607919"/>
                    <a:gd name="connsiteY33" fmla="*/ 384120 h 551610"/>
                    <a:gd name="connsiteX34" fmla="*/ 365148 w 607919"/>
                    <a:gd name="connsiteY34" fmla="*/ 381336 h 551610"/>
                    <a:gd name="connsiteX35" fmla="*/ 448177 w 607919"/>
                    <a:gd name="connsiteY35" fmla="*/ 298352 h 551610"/>
                    <a:gd name="connsiteX36" fmla="*/ 450982 w 607919"/>
                    <a:gd name="connsiteY36" fmla="*/ 305139 h 551610"/>
                    <a:gd name="connsiteX37" fmla="*/ 450982 w 607919"/>
                    <a:gd name="connsiteY37" fmla="*/ 551610 h 551610"/>
                    <a:gd name="connsiteX38" fmla="*/ 394318 w 607919"/>
                    <a:gd name="connsiteY38" fmla="*/ 551610 h 551610"/>
                    <a:gd name="connsiteX39" fmla="*/ 394318 w 607919"/>
                    <a:gd name="connsiteY39" fmla="*/ 361815 h 551610"/>
                    <a:gd name="connsiteX40" fmla="*/ 403846 w 607919"/>
                    <a:gd name="connsiteY40" fmla="*/ 338669 h 551610"/>
                    <a:gd name="connsiteX41" fmla="*/ 441329 w 607919"/>
                    <a:gd name="connsiteY41" fmla="*/ 301136 h 551610"/>
                    <a:gd name="connsiteX42" fmla="*/ 448177 w 607919"/>
                    <a:gd name="connsiteY42" fmla="*/ 298352 h 551610"/>
                    <a:gd name="connsiteX43" fmla="*/ 527085 w 607919"/>
                    <a:gd name="connsiteY43" fmla="*/ 219452 h 551610"/>
                    <a:gd name="connsiteX44" fmla="*/ 529874 w 607919"/>
                    <a:gd name="connsiteY44" fmla="*/ 226177 h 551610"/>
                    <a:gd name="connsiteX45" fmla="*/ 529874 w 607919"/>
                    <a:gd name="connsiteY45" fmla="*/ 551610 h 551610"/>
                    <a:gd name="connsiteX46" fmla="*/ 477232 w 607919"/>
                    <a:gd name="connsiteY46" fmla="*/ 551610 h 551610"/>
                    <a:gd name="connsiteX47" fmla="*/ 477232 w 607919"/>
                    <a:gd name="connsiteY47" fmla="*/ 278727 h 551610"/>
                    <a:gd name="connsiteX48" fmla="*/ 486883 w 607919"/>
                    <a:gd name="connsiteY48" fmla="*/ 255580 h 551610"/>
                    <a:gd name="connsiteX49" fmla="*/ 520348 w 607919"/>
                    <a:gd name="connsiteY49" fmla="*/ 222298 h 551610"/>
                    <a:gd name="connsiteX50" fmla="*/ 527085 w 607919"/>
                    <a:gd name="connsiteY50" fmla="*/ 219452 h 551610"/>
                    <a:gd name="connsiteX51" fmla="*/ 387769 w 607919"/>
                    <a:gd name="connsiteY51" fmla="*/ 0 h 551610"/>
                    <a:gd name="connsiteX52" fmla="*/ 580729 w 607919"/>
                    <a:gd name="connsiteY52" fmla="*/ 0 h 551610"/>
                    <a:gd name="connsiteX53" fmla="*/ 607919 w 607919"/>
                    <a:gd name="connsiteY53" fmla="*/ 26022 h 551610"/>
                    <a:gd name="connsiteX54" fmla="*/ 607919 w 607919"/>
                    <a:gd name="connsiteY54" fmla="*/ 219812 h 551610"/>
                    <a:gd name="connsiteX55" fmla="*/ 598271 w 607919"/>
                    <a:gd name="connsiteY55" fmla="*/ 223815 h 551610"/>
                    <a:gd name="connsiteX56" fmla="*/ 530610 w 607919"/>
                    <a:gd name="connsiteY56" fmla="*/ 156258 h 551610"/>
                    <a:gd name="connsiteX57" fmla="*/ 304320 w 607919"/>
                    <a:gd name="connsiteY57" fmla="*/ 382325 h 551610"/>
                    <a:gd name="connsiteX58" fmla="*/ 285024 w 607919"/>
                    <a:gd name="connsiteY58" fmla="*/ 382325 h 551610"/>
                    <a:gd name="connsiteX59" fmla="*/ 216360 w 607919"/>
                    <a:gd name="connsiteY59" fmla="*/ 313767 h 551610"/>
                    <a:gd name="connsiteX60" fmla="*/ 94068 w 607919"/>
                    <a:gd name="connsiteY60" fmla="*/ 435996 h 551610"/>
                    <a:gd name="connsiteX61" fmla="*/ 17260 w 607919"/>
                    <a:gd name="connsiteY61" fmla="*/ 435996 h 551610"/>
                    <a:gd name="connsiteX62" fmla="*/ 15882 w 607919"/>
                    <a:gd name="connsiteY62" fmla="*/ 434745 h 551610"/>
                    <a:gd name="connsiteX63" fmla="*/ 15882 w 607919"/>
                    <a:gd name="connsiteY63" fmla="*/ 358055 h 551610"/>
                    <a:gd name="connsiteX64" fmla="*/ 206837 w 607919"/>
                    <a:gd name="connsiteY64" fmla="*/ 167267 h 551610"/>
                    <a:gd name="connsiteX65" fmla="*/ 226008 w 607919"/>
                    <a:gd name="connsiteY65" fmla="*/ 167267 h 551610"/>
                    <a:gd name="connsiteX66" fmla="*/ 294672 w 607919"/>
                    <a:gd name="connsiteY66" fmla="*/ 235701 h 551610"/>
                    <a:gd name="connsiteX67" fmla="*/ 424481 w 607919"/>
                    <a:gd name="connsiteY67" fmla="*/ 105965 h 551610"/>
                    <a:gd name="connsiteX68" fmla="*/ 452423 w 607919"/>
                    <a:gd name="connsiteY68" fmla="*/ 78192 h 551610"/>
                    <a:gd name="connsiteX69" fmla="*/ 383885 w 607919"/>
                    <a:gd name="connsiteY69" fmla="*/ 9633 h 551610"/>
                    <a:gd name="connsiteX70" fmla="*/ 387769 w 607919"/>
                    <a:gd name="connsiteY70" fmla="*/ 0 h 551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</a:cxnLst>
                  <a:rect l="l" t="t" r="r" b="b"/>
                  <a:pathLst>
                    <a:path w="607919" h="551610">
                      <a:moveTo>
                        <a:pt x="116112" y="473652"/>
                      </a:moveTo>
                      <a:cubicBezTo>
                        <a:pt x="117836" y="474356"/>
                        <a:pt x="118901" y="476670"/>
                        <a:pt x="118901" y="480423"/>
                      </a:cubicBezTo>
                      <a:lnTo>
                        <a:pt x="118901" y="551610"/>
                      </a:lnTo>
                      <a:lnTo>
                        <a:pt x="55604" y="551610"/>
                      </a:lnTo>
                      <a:lnTo>
                        <a:pt x="55604" y="540851"/>
                      </a:lnTo>
                      <a:cubicBezTo>
                        <a:pt x="55604" y="534971"/>
                        <a:pt x="59991" y="525838"/>
                        <a:pt x="65255" y="520583"/>
                      </a:cubicBezTo>
                      <a:lnTo>
                        <a:pt x="83555" y="502317"/>
                      </a:lnTo>
                      <a:lnTo>
                        <a:pt x="109375" y="476545"/>
                      </a:lnTo>
                      <a:cubicBezTo>
                        <a:pt x="112007" y="473855"/>
                        <a:pt x="114389" y="472948"/>
                        <a:pt x="116112" y="473652"/>
                      </a:cubicBezTo>
                      <a:close/>
                      <a:moveTo>
                        <a:pt x="199155" y="390799"/>
                      </a:moveTo>
                      <a:cubicBezTo>
                        <a:pt x="200892" y="391534"/>
                        <a:pt x="201956" y="393880"/>
                        <a:pt x="201956" y="397632"/>
                      </a:cubicBezTo>
                      <a:lnTo>
                        <a:pt x="201956" y="551610"/>
                      </a:lnTo>
                      <a:lnTo>
                        <a:pt x="145363" y="551610"/>
                      </a:lnTo>
                      <a:lnTo>
                        <a:pt x="145363" y="454170"/>
                      </a:lnTo>
                      <a:cubicBezTo>
                        <a:pt x="145363" y="446665"/>
                        <a:pt x="149620" y="436283"/>
                        <a:pt x="154879" y="431030"/>
                      </a:cubicBezTo>
                      <a:lnTo>
                        <a:pt x="192315" y="393630"/>
                      </a:lnTo>
                      <a:cubicBezTo>
                        <a:pt x="195007" y="390941"/>
                        <a:pt x="197417" y="390065"/>
                        <a:pt x="199155" y="390799"/>
                      </a:cubicBezTo>
                      <a:close/>
                      <a:moveTo>
                        <a:pt x="231082" y="388245"/>
                      </a:moveTo>
                      <a:cubicBezTo>
                        <a:pt x="232822" y="387525"/>
                        <a:pt x="235235" y="388401"/>
                        <a:pt x="237930" y="391091"/>
                      </a:cubicBezTo>
                      <a:lnTo>
                        <a:pt x="266763" y="419867"/>
                      </a:lnTo>
                      <a:lnTo>
                        <a:pt x="275915" y="428875"/>
                      </a:lnTo>
                      <a:cubicBezTo>
                        <a:pt x="280929" y="433879"/>
                        <a:pt x="284941" y="444013"/>
                        <a:pt x="284941" y="451520"/>
                      </a:cubicBezTo>
                      <a:lnTo>
                        <a:pt x="284941" y="551610"/>
                      </a:lnTo>
                      <a:lnTo>
                        <a:pt x="228277" y="551610"/>
                      </a:lnTo>
                      <a:lnTo>
                        <a:pt x="228277" y="394969"/>
                      </a:lnTo>
                      <a:cubicBezTo>
                        <a:pt x="228277" y="391278"/>
                        <a:pt x="229343" y="388964"/>
                        <a:pt x="231082" y="388245"/>
                      </a:cubicBezTo>
                      <a:close/>
                      <a:moveTo>
                        <a:pt x="365148" y="381336"/>
                      </a:moveTo>
                      <a:cubicBezTo>
                        <a:pt x="366901" y="382055"/>
                        <a:pt x="367997" y="384370"/>
                        <a:pt x="367997" y="388122"/>
                      </a:cubicBezTo>
                      <a:lnTo>
                        <a:pt x="367997" y="551610"/>
                      </a:lnTo>
                      <a:lnTo>
                        <a:pt x="311262" y="551610"/>
                      </a:lnTo>
                      <a:lnTo>
                        <a:pt x="311262" y="444661"/>
                      </a:lnTo>
                      <a:cubicBezTo>
                        <a:pt x="311262" y="437156"/>
                        <a:pt x="313767" y="428650"/>
                        <a:pt x="316898" y="425523"/>
                      </a:cubicBezTo>
                      <a:cubicBezTo>
                        <a:pt x="320029" y="422396"/>
                        <a:pt x="322534" y="419894"/>
                        <a:pt x="322534" y="419894"/>
                      </a:cubicBezTo>
                      <a:lnTo>
                        <a:pt x="358353" y="384120"/>
                      </a:lnTo>
                      <a:cubicBezTo>
                        <a:pt x="360983" y="381493"/>
                        <a:pt x="363394" y="380617"/>
                        <a:pt x="365148" y="381336"/>
                      </a:cubicBezTo>
                      <a:close/>
                      <a:moveTo>
                        <a:pt x="448177" y="298352"/>
                      </a:moveTo>
                      <a:cubicBezTo>
                        <a:pt x="449916" y="299071"/>
                        <a:pt x="450982" y="301386"/>
                        <a:pt x="450982" y="305139"/>
                      </a:cubicBezTo>
                      <a:lnTo>
                        <a:pt x="450982" y="551610"/>
                      </a:lnTo>
                      <a:lnTo>
                        <a:pt x="394318" y="551610"/>
                      </a:lnTo>
                      <a:lnTo>
                        <a:pt x="394318" y="361815"/>
                      </a:lnTo>
                      <a:cubicBezTo>
                        <a:pt x="394318" y="354308"/>
                        <a:pt x="398580" y="343924"/>
                        <a:pt x="403846" y="338669"/>
                      </a:cubicBezTo>
                      <a:lnTo>
                        <a:pt x="441329" y="301136"/>
                      </a:lnTo>
                      <a:cubicBezTo>
                        <a:pt x="444024" y="298508"/>
                        <a:pt x="446438" y="297633"/>
                        <a:pt x="448177" y="298352"/>
                      </a:cubicBezTo>
                      <a:close/>
                      <a:moveTo>
                        <a:pt x="527085" y="219452"/>
                      </a:moveTo>
                      <a:cubicBezTo>
                        <a:pt x="528809" y="220171"/>
                        <a:pt x="529874" y="222486"/>
                        <a:pt x="529874" y="226177"/>
                      </a:cubicBezTo>
                      <a:lnTo>
                        <a:pt x="529874" y="551610"/>
                      </a:lnTo>
                      <a:lnTo>
                        <a:pt x="477232" y="551610"/>
                      </a:lnTo>
                      <a:lnTo>
                        <a:pt x="477232" y="278727"/>
                      </a:lnTo>
                      <a:cubicBezTo>
                        <a:pt x="477232" y="271345"/>
                        <a:pt x="481494" y="260960"/>
                        <a:pt x="486883" y="255580"/>
                      </a:cubicBezTo>
                      <a:lnTo>
                        <a:pt x="520348" y="222298"/>
                      </a:lnTo>
                      <a:cubicBezTo>
                        <a:pt x="522980" y="219608"/>
                        <a:pt x="525362" y="218732"/>
                        <a:pt x="527085" y="219452"/>
                      </a:cubicBezTo>
                      <a:close/>
                      <a:moveTo>
                        <a:pt x="387769" y="0"/>
                      </a:moveTo>
                      <a:lnTo>
                        <a:pt x="580729" y="0"/>
                      </a:lnTo>
                      <a:cubicBezTo>
                        <a:pt x="594512" y="0"/>
                        <a:pt x="607919" y="12135"/>
                        <a:pt x="607919" y="26022"/>
                      </a:cubicBezTo>
                      <a:lnTo>
                        <a:pt x="607919" y="219812"/>
                      </a:lnTo>
                      <a:cubicBezTo>
                        <a:pt x="607919" y="227318"/>
                        <a:pt x="603534" y="229070"/>
                        <a:pt x="598271" y="223815"/>
                      </a:cubicBezTo>
                      <a:lnTo>
                        <a:pt x="530610" y="156258"/>
                      </a:lnTo>
                      <a:lnTo>
                        <a:pt x="304320" y="382325"/>
                      </a:lnTo>
                      <a:cubicBezTo>
                        <a:pt x="298932" y="387580"/>
                        <a:pt x="290412" y="387580"/>
                        <a:pt x="285024" y="382325"/>
                      </a:cubicBezTo>
                      <a:lnTo>
                        <a:pt x="216360" y="313767"/>
                      </a:lnTo>
                      <a:lnTo>
                        <a:pt x="94068" y="435996"/>
                      </a:lnTo>
                      <a:cubicBezTo>
                        <a:pt x="72767" y="457264"/>
                        <a:pt x="38435" y="457264"/>
                        <a:pt x="17260" y="435996"/>
                      </a:cubicBezTo>
                      <a:lnTo>
                        <a:pt x="15882" y="434745"/>
                      </a:lnTo>
                      <a:cubicBezTo>
                        <a:pt x="-5294" y="413477"/>
                        <a:pt x="-5294" y="379198"/>
                        <a:pt x="15882" y="358055"/>
                      </a:cubicBezTo>
                      <a:lnTo>
                        <a:pt x="206837" y="167267"/>
                      </a:lnTo>
                      <a:cubicBezTo>
                        <a:pt x="212100" y="161888"/>
                        <a:pt x="220745" y="161888"/>
                        <a:pt x="226008" y="167267"/>
                      </a:cubicBezTo>
                      <a:lnTo>
                        <a:pt x="294672" y="235701"/>
                      </a:lnTo>
                      <a:lnTo>
                        <a:pt x="424481" y="105965"/>
                      </a:lnTo>
                      <a:lnTo>
                        <a:pt x="452423" y="78192"/>
                      </a:lnTo>
                      <a:lnTo>
                        <a:pt x="383885" y="9633"/>
                      </a:lnTo>
                      <a:cubicBezTo>
                        <a:pt x="378497" y="4379"/>
                        <a:pt x="380376" y="0"/>
                        <a:pt x="387769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11" name="iŝļïḓê"/>
            <p:cNvGrpSpPr/>
            <p:nvPr/>
          </p:nvGrpSpPr>
          <p:grpSpPr>
            <a:xfrm>
              <a:off x="660400" y="4251929"/>
              <a:ext cx="10178588" cy="2024583"/>
              <a:chOff x="660400" y="1860585"/>
              <a:chExt cx="10178588" cy="2024583"/>
            </a:xfrm>
          </p:grpSpPr>
          <p:grpSp>
            <p:nvGrpSpPr>
              <p:cNvPr id="13" name="ïṧļïḓe"/>
              <p:cNvGrpSpPr/>
              <p:nvPr/>
            </p:nvGrpSpPr>
            <p:grpSpPr>
              <a:xfrm>
                <a:off x="1539875" y="1889655"/>
                <a:ext cx="9299113" cy="1995513"/>
                <a:chOff x="1603439" y="1889655"/>
                <a:chExt cx="11728511" cy="1995513"/>
              </a:xfrm>
            </p:grpSpPr>
            <p:sp>
              <p:nvSpPr>
                <p:cNvPr id="18" name="ïšļíďè"/>
                <p:cNvSpPr txBox="1"/>
                <p:nvPr/>
              </p:nvSpPr>
              <p:spPr>
                <a:xfrm>
                  <a:off x="1603439" y="1889655"/>
                  <a:ext cx="6601076" cy="389423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ctr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r>
                    <a:rPr lang="zh-CN" altLang="en-US" sz="2400" dirty="0">
                      <a:solidFill>
                        <a:srgbClr val="FF0000"/>
                      </a:solidFill>
                    </a:rPr>
                    <a:t>进程调度机制（调度程序分为三部分）</a:t>
                  </a:r>
                </a:p>
              </p:txBody>
            </p:sp>
            <p:sp>
              <p:nvSpPr>
                <p:cNvPr id="19" name="íşľíḑè"/>
                <p:cNvSpPr/>
                <p:nvPr/>
              </p:nvSpPr>
              <p:spPr bwMode="auto">
                <a:xfrm>
                  <a:off x="1619683" y="2384893"/>
                  <a:ext cx="11712267" cy="150027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342900" lvl="1" indent="-342900">
                    <a:lnSpc>
                      <a:spcPct val="150000"/>
                    </a:lnSpc>
                    <a:buFont typeface="Wingdings" panose="05000000000000000000" pitchFamily="2" charset="2"/>
                    <a:buChar char="Ø"/>
                  </a:pPr>
                  <a:r>
                    <a:rPr lang="zh-CN" altLang="en-US" sz="2400" dirty="0"/>
                    <a:t>排队器：用于将就绪进程插入相应的就绪队列</a:t>
                  </a:r>
                </a:p>
                <a:p>
                  <a:pPr marL="342900" lvl="1" indent="-342900">
                    <a:lnSpc>
                      <a:spcPct val="150000"/>
                    </a:lnSpc>
                    <a:buFont typeface="Wingdings" panose="05000000000000000000" pitchFamily="2" charset="2"/>
                    <a:buChar char="Ø"/>
                  </a:pPr>
                  <a:r>
                    <a:rPr lang="zh-CN" altLang="en-US" sz="2400" dirty="0"/>
                    <a:t>分派器：用于将选定的进程移出就绪队列</a:t>
                  </a:r>
                </a:p>
                <a:p>
                  <a:pPr marL="342900" lvl="1" indent="-342900">
                    <a:lnSpc>
                      <a:spcPct val="150000"/>
                    </a:lnSpc>
                    <a:buFont typeface="Wingdings" panose="05000000000000000000" pitchFamily="2" charset="2"/>
                    <a:buChar char="Ø"/>
                  </a:pPr>
                  <a:r>
                    <a:rPr lang="zh-CN" altLang="en-US" sz="2400" dirty="0"/>
                    <a:t>上下文切换器：进行新旧进程之间的上下文切换</a:t>
                  </a:r>
                </a:p>
              </p:txBody>
            </p:sp>
          </p:grpSp>
          <p:grpSp>
            <p:nvGrpSpPr>
              <p:cNvPr id="15" name="ïŝľídè"/>
              <p:cNvGrpSpPr/>
              <p:nvPr/>
            </p:nvGrpSpPr>
            <p:grpSpPr>
              <a:xfrm>
                <a:off x="660400" y="1860585"/>
                <a:ext cx="733394" cy="733394"/>
                <a:chOff x="660400" y="1860585"/>
                <a:chExt cx="733394" cy="733394"/>
              </a:xfrm>
            </p:grpSpPr>
            <p:sp>
              <p:nvSpPr>
                <p:cNvPr id="16" name="ïṡľïde"/>
                <p:cNvSpPr/>
                <p:nvPr/>
              </p:nvSpPr>
              <p:spPr>
                <a:xfrm>
                  <a:off x="660400" y="1860585"/>
                  <a:ext cx="733394" cy="733394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19050">
                  <a:solidFill>
                    <a:schemeClr val="bg1"/>
                  </a:solidFill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160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" name="ïšliḍe"/>
                <p:cNvSpPr/>
                <p:nvPr/>
              </p:nvSpPr>
              <p:spPr>
                <a:xfrm>
                  <a:off x="806481" y="2072090"/>
                  <a:ext cx="381389" cy="346064"/>
                </a:xfrm>
                <a:custGeom>
                  <a:avLst/>
                  <a:gdLst>
                    <a:gd name="connsiteX0" fmla="*/ 116112 w 607919"/>
                    <a:gd name="connsiteY0" fmla="*/ 473652 h 551610"/>
                    <a:gd name="connsiteX1" fmla="*/ 118901 w 607919"/>
                    <a:gd name="connsiteY1" fmla="*/ 480423 h 551610"/>
                    <a:gd name="connsiteX2" fmla="*/ 118901 w 607919"/>
                    <a:gd name="connsiteY2" fmla="*/ 551610 h 551610"/>
                    <a:gd name="connsiteX3" fmla="*/ 55604 w 607919"/>
                    <a:gd name="connsiteY3" fmla="*/ 551610 h 551610"/>
                    <a:gd name="connsiteX4" fmla="*/ 55604 w 607919"/>
                    <a:gd name="connsiteY4" fmla="*/ 540851 h 551610"/>
                    <a:gd name="connsiteX5" fmla="*/ 65255 w 607919"/>
                    <a:gd name="connsiteY5" fmla="*/ 520583 h 551610"/>
                    <a:gd name="connsiteX6" fmla="*/ 83555 w 607919"/>
                    <a:gd name="connsiteY6" fmla="*/ 502317 h 551610"/>
                    <a:gd name="connsiteX7" fmla="*/ 109375 w 607919"/>
                    <a:gd name="connsiteY7" fmla="*/ 476545 h 551610"/>
                    <a:gd name="connsiteX8" fmla="*/ 116112 w 607919"/>
                    <a:gd name="connsiteY8" fmla="*/ 473652 h 551610"/>
                    <a:gd name="connsiteX9" fmla="*/ 199155 w 607919"/>
                    <a:gd name="connsiteY9" fmla="*/ 390799 h 551610"/>
                    <a:gd name="connsiteX10" fmla="*/ 201956 w 607919"/>
                    <a:gd name="connsiteY10" fmla="*/ 397632 h 551610"/>
                    <a:gd name="connsiteX11" fmla="*/ 201956 w 607919"/>
                    <a:gd name="connsiteY11" fmla="*/ 551610 h 551610"/>
                    <a:gd name="connsiteX12" fmla="*/ 145363 w 607919"/>
                    <a:gd name="connsiteY12" fmla="*/ 551610 h 551610"/>
                    <a:gd name="connsiteX13" fmla="*/ 145363 w 607919"/>
                    <a:gd name="connsiteY13" fmla="*/ 454170 h 551610"/>
                    <a:gd name="connsiteX14" fmla="*/ 154879 w 607919"/>
                    <a:gd name="connsiteY14" fmla="*/ 431030 h 551610"/>
                    <a:gd name="connsiteX15" fmla="*/ 192315 w 607919"/>
                    <a:gd name="connsiteY15" fmla="*/ 393630 h 551610"/>
                    <a:gd name="connsiteX16" fmla="*/ 199155 w 607919"/>
                    <a:gd name="connsiteY16" fmla="*/ 390799 h 551610"/>
                    <a:gd name="connsiteX17" fmla="*/ 231082 w 607919"/>
                    <a:gd name="connsiteY17" fmla="*/ 388245 h 551610"/>
                    <a:gd name="connsiteX18" fmla="*/ 237930 w 607919"/>
                    <a:gd name="connsiteY18" fmla="*/ 391091 h 551610"/>
                    <a:gd name="connsiteX19" fmla="*/ 266763 w 607919"/>
                    <a:gd name="connsiteY19" fmla="*/ 419867 h 551610"/>
                    <a:gd name="connsiteX20" fmla="*/ 275915 w 607919"/>
                    <a:gd name="connsiteY20" fmla="*/ 428875 h 551610"/>
                    <a:gd name="connsiteX21" fmla="*/ 284941 w 607919"/>
                    <a:gd name="connsiteY21" fmla="*/ 451520 h 551610"/>
                    <a:gd name="connsiteX22" fmla="*/ 284941 w 607919"/>
                    <a:gd name="connsiteY22" fmla="*/ 551610 h 551610"/>
                    <a:gd name="connsiteX23" fmla="*/ 228277 w 607919"/>
                    <a:gd name="connsiteY23" fmla="*/ 551610 h 551610"/>
                    <a:gd name="connsiteX24" fmla="*/ 228277 w 607919"/>
                    <a:gd name="connsiteY24" fmla="*/ 394969 h 551610"/>
                    <a:gd name="connsiteX25" fmla="*/ 231082 w 607919"/>
                    <a:gd name="connsiteY25" fmla="*/ 388245 h 551610"/>
                    <a:gd name="connsiteX26" fmla="*/ 365148 w 607919"/>
                    <a:gd name="connsiteY26" fmla="*/ 381336 h 551610"/>
                    <a:gd name="connsiteX27" fmla="*/ 367997 w 607919"/>
                    <a:gd name="connsiteY27" fmla="*/ 388122 h 551610"/>
                    <a:gd name="connsiteX28" fmla="*/ 367997 w 607919"/>
                    <a:gd name="connsiteY28" fmla="*/ 551610 h 551610"/>
                    <a:gd name="connsiteX29" fmla="*/ 311262 w 607919"/>
                    <a:gd name="connsiteY29" fmla="*/ 551610 h 551610"/>
                    <a:gd name="connsiteX30" fmla="*/ 311262 w 607919"/>
                    <a:gd name="connsiteY30" fmla="*/ 444661 h 551610"/>
                    <a:gd name="connsiteX31" fmla="*/ 316898 w 607919"/>
                    <a:gd name="connsiteY31" fmla="*/ 425523 h 551610"/>
                    <a:gd name="connsiteX32" fmla="*/ 322534 w 607919"/>
                    <a:gd name="connsiteY32" fmla="*/ 419894 h 551610"/>
                    <a:gd name="connsiteX33" fmla="*/ 358353 w 607919"/>
                    <a:gd name="connsiteY33" fmla="*/ 384120 h 551610"/>
                    <a:gd name="connsiteX34" fmla="*/ 365148 w 607919"/>
                    <a:gd name="connsiteY34" fmla="*/ 381336 h 551610"/>
                    <a:gd name="connsiteX35" fmla="*/ 448177 w 607919"/>
                    <a:gd name="connsiteY35" fmla="*/ 298352 h 551610"/>
                    <a:gd name="connsiteX36" fmla="*/ 450982 w 607919"/>
                    <a:gd name="connsiteY36" fmla="*/ 305139 h 551610"/>
                    <a:gd name="connsiteX37" fmla="*/ 450982 w 607919"/>
                    <a:gd name="connsiteY37" fmla="*/ 551610 h 551610"/>
                    <a:gd name="connsiteX38" fmla="*/ 394318 w 607919"/>
                    <a:gd name="connsiteY38" fmla="*/ 551610 h 551610"/>
                    <a:gd name="connsiteX39" fmla="*/ 394318 w 607919"/>
                    <a:gd name="connsiteY39" fmla="*/ 361815 h 551610"/>
                    <a:gd name="connsiteX40" fmla="*/ 403846 w 607919"/>
                    <a:gd name="connsiteY40" fmla="*/ 338669 h 551610"/>
                    <a:gd name="connsiteX41" fmla="*/ 441329 w 607919"/>
                    <a:gd name="connsiteY41" fmla="*/ 301136 h 551610"/>
                    <a:gd name="connsiteX42" fmla="*/ 448177 w 607919"/>
                    <a:gd name="connsiteY42" fmla="*/ 298352 h 551610"/>
                    <a:gd name="connsiteX43" fmla="*/ 527085 w 607919"/>
                    <a:gd name="connsiteY43" fmla="*/ 219452 h 551610"/>
                    <a:gd name="connsiteX44" fmla="*/ 529874 w 607919"/>
                    <a:gd name="connsiteY44" fmla="*/ 226177 h 551610"/>
                    <a:gd name="connsiteX45" fmla="*/ 529874 w 607919"/>
                    <a:gd name="connsiteY45" fmla="*/ 551610 h 551610"/>
                    <a:gd name="connsiteX46" fmla="*/ 477232 w 607919"/>
                    <a:gd name="connsiteY46" fmla="*/ 551610 h 551610"/>
                    <a:gd name="connsiteX47" fmla="*/ 477232 w 607919"/>
                    <a:gd name="connsiteY47" fmla="*/ 278727 h 551610"/>
                    <a:gd name="connsiteX48" fmla="*/ 486883 w 607919"/>
                    <a:gd name="connsiteY48" fmla="*/ 255580 h 551610"/>
                    <a:gd name="connsiteX49" fmla="*/ 520348 w 607919"/>
                    <a:gd name="connsiteY49" fmla="*/ 222298 h 551610"/>
                    <a:gd name="connsiteX50" fmla="*/ 527085 w 607919"/>
                    <a:gd name="connsiteY50" fmla="*/ 219452 h 551610"/>
                    <a:gd name="connsiteX51" fmla="*/ 387769 w 607919"/>
                    <a:gd name="connsiteY51" fmla="*/ 0 h 551610"/>
                    <a:gd name="connsiteX52" fmla="*/ 580729 w 607919"/>
                    <a:gd name="connsiteY52" fmla="*/ 0 h 551610"/>
                    <a:gd name="connsiteX53" fmla="*/ 607919 w 607919"/>
                    <a:gd name="connsiteY53" fmla="*/ 26022 h 551610"/>
                    <a:gd name="connsiteX54" fmla="*/ 607919 w 607919"/>
                    <a:gd name="connsiteY54" fmla="*/ 219812 h 551610"/>
                    <a:gd name="connsiteX55" fmla="*/ 598271 w 607919"/>
                    <a:gd name="connsiteY55" fmla="*/ 223815 h 551610"/>
                    <a:gd name="connsiteX56" fmla="*/ 530610 w 607919"/>
                    <a:gd name="connsiteY56" fmla="*/ 156258 h 551610"/>
                    <a:gd name="connsiteX57" fmla="*/ 304320 w 607919"/>
                    <a:gd name="connsiteY57" fmla="*/ 382325 h 551610"/>
                    <a:gd name="connsiteX58" fmla="*/ 285024 w 607919"/>
                    <a:gd name="connsiteY58" fmla="*/ 382325 h 551610"/>
                    <a:gd name="connsiteX59" fmla="*/ 216360 w 607919"/>
                    <a:gd name="connsiteY59" fmla="*/ 313767 h 551610"/>
                    <a:gd name="connsiteX60" fmla="*/ 94068 w 607919"/>
                    <a:gd name="connsiteY60" fmla="*/ 435996 h 551610"/>
                    <a:gd name="connsiteX61" fmla="*/ 17260 w 607919"/>
                    <a:gd name="connsiteY61" fmla="*/ 435996 h 551610"/>
                    <a:gd name="connsiteX62" fmla="*/ 15882 w 607919"/>
                    <a:gd name="connsiteY62" fmla="*/ 434745 h 551610"/>
                    <a:gd name="connsiteX63" fmla="*/ 15882 w 607919"/>
                    <a:gd name="connsiteY63" fmla="*/ 358055 h 551610"/>
                    <a:gd name="connsiteX64" fmla="*/ 206837 w 607919"/>
                    <a:gd name="connsiteY64" fmla="*/ 167267 h 551610"/>
                    <a:gd name="connsiteX65" fmla="*/ 226008 w 607919"/>
                    <a:gd name="connsiteY65" fmla="*/ 167267 h 551610"/>
                    <a:gd name="connsiteX66" fmla="*/ 294672 w 607919"/>
                    <a:gd name="connsiteY66" fmla="*/ 235701 h 551610"/>
                    <a:gd name="connsiteX67" fmla="*/ 424481 w 607919"/>
                    <a:gd name="connsiteY67" fmla="*/ 105965 h 551610"/>
                    <a:gd name="connsiteX68" fmla="*/ 452423 w 607919"/>
                    <a:gd name="connsiteY68" fmla="*/ 78192 h 551610"/>
                    <a:gd name="connsiteX69" fmla="*/ 383885 w 607919"/>
                    <a:gd name="connsiteY69" fmla="*/ 9633 h 551610"/>
                    <a:gd name="connsiteX70" fmla="*/ 387769 w 607919"/>
                    <a:gd name="connsiteY70" fmla="*/ 0 h 551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</a:cxnLst>
                  <a:rect l="l" t="t" r="r" b="b"/>
                  <a:pathLst>
                    <a:path w="607919" h="551610">
                      <a:moveTo>
                        <a:pt x="116112" y="473652"/>
                      </a:moveTo>
                      <a:cubicBezTo>
                        <a:pt x="117836" y="474356"/>
                        <a:pt x="118901" y="476670"/>
                        <a:pt x="118901" y="480423"/>
                      </a:cubicBezTo>
                      <a:lnTo>
                        <a:pt x="118901" y="551610"/>
                      </a:lnTo>
                      <a:lnTo>
                        <a:pt x="55604" y="551610"/>
                      </a:lnTo>
                      <a:lnTo>
                        <a:pt x="55604" y="540851"/>
                      </a:lnTo>
                      <a:cubicBezTo>
                        <a:pt x="55604" y="534971"/>
                        <a:pt x="59991" y="525838"/>
                        <a:pt x="65255" y="520583"/>
                      </a:cubicBezTo>
                      <a:lnTo>
                        <a:pt x="83555" y="502317"/>
                      </a:lnTo>
                      <a:lnTo>
                        <a:pt x="109375" y="476545"/>
                      </a:lnTo>
                      <a:cubicBezTo>
                        <a:pt x="112007" y="473855"/>
                        <a:pt x="114389" y="472948"/>
                        <a:pt x="116112" y="473652"/>
                      </a:cubicBezTo>
                      <a:close/>
                      <a:moveTo>
                        <a:pt x="199155" y="390799"/>
                      </a:moveTo>
                      <a:cubicBezTo>
                        <a:pt x="200892" y="391534"/>
                        <a:pt x="201956" y="393880"/>
                        <a:pt x="201956" y="397632"/>
                      </a:cubicBezTo>
                      <a:lnTo>
                        <a:pt x="201956" y="551610"/>
                      </a:lnTo>
                      <a:lnTo>
                        <a:pt x="145363" y="551610"/>
                      </a:lnTo>
                      <a:lnTo>
                        <a:pt x="145363" y="454170"/>
                      </a:lnTo>
                      <a:cubicBezTo>
                        <a:pt x="145363" y="446665"/>
                        <a:pt x="149620" y="436283"/>
                        <a:pt x="154879" y="431030"/>
                      </a:cubicBezTo>
                      <a:lnTo>
                        <a:pt x="192315" y="393630"/>
                      </a:lnTo>
                      <a:cubicBezTo>
                        <a:pt x="195007" y="390941"/>
                        <a:pt x="197417" y="390065"/>
                        <a:pt x="199155" y="390799"/>
                      </a:cubicBezTo>
                      <a:close/>
                      <a:moveTo>
                        <a:pt x="231082" y="388245"/>
                      </a:moveTo>
                      <a:cubicBezTo>
                        <a:pt x="232822" y="387525"/>
                        <a:pt x="235235" y="388401"/>
                        <a:pt x="237930" y="391091"/>
                      </a:cubicBezTo>
                      <a:lnTo>
                        <a:pt x="266763" y="419867"/>
                      </a:lnTo>
                      <a:lnTo>
                        <a:pt x="275915" y="428875"/>
                      </a:lnTo>
                      <a:cubicBezTo>
                        <a:pt x="280929" y="433879"/>
                        <a:pt x="284941" y="444013"/>
                        <a:pt x="284941" y="451520"/>
                      </a:cubicBezTo>
                      <a:lnTo>
                        <a:pt x="284941" y="551610"/>
                      </a:lnTo>
                      <a:lnTo>
                        <a:pt x="228277" y="551610"/>
                      </a:lnTo>
                      <a:lnTo>
                        <a:pt x="228277" y="394969"/>
                      </a:lnTo>
                      <a:cubicBezTo>
                        <a:pt x="228277" y="391278"/>
                        <a:pt x="229343" y="388964"/>
                        <a:pt x="231082" y="388245"/>
                      </a:cubicBezTo>
                      <a:close/>
                      <a:moveTo>
                        <a:pt x="365148" y="381336"/>
                      </a:moveTo>
                      <a:cubicBezTo>
                        <a:pt x="366901" y="382055"/>
                        <a:pt x="367997" y="384370"/>
                        <a:pt x="367997" y="388122"/>
                      </a:cubicBezTo>
                      <a:lnTo>
                        <a:pt x="367997" y="551610"/>
                      </a:lnTo>
                      <a:lnTo>
                        <a:pt x="311262" y="551610"/>
                      </a:lnTo>
                      <a:lnTo>
                        <a:pt x="311262" y="444661"/>
                      </a:lnTo>
                      <a:cubicBezTo>
                        <a:pt x="311262" y="437156"/>
                        <a:pt x="313767" y="428650"/>
                        <a:pt x="316898" y="425523"/>
                      </a:cubicBezTo>
                      <a:cubicBezTo>
                        <a:pt x="320029" y="422396"/>
                        <a:pt x="322534" y="419894"/>
                        <a:pt x="322534" y="419894"/>
                      </a:cubicBezTo>
                      <a:lnTo>
                        <a:pt x="358353" y="384120"/>
                      </a:lnTo>
                      <a:cubicBezTo>
                        <a:pt x="360983" y="381493"/>
                        <a:pt x="363394" y="380617"/>
                        <a:pt x="365148" y="381336"/>
                      </a:cubicBezTo>
                      <a:close/>
                      <a:moveTo>
                        <a:pt x="448177" y="298352"/>
                      </a:moveTo>
                      <a:cubicBezTo>
                        <a:pt x="449916" y="299071"/>
                        <a:pt x="450982" y="301386"/>
                        <a:pt x="450982" y="305139"/>
                      </a:cubicBezTo>
                      <a:lnTo>
                        <a:pt x="450982" y="551610"/>
                      </a:lnTo>
                      <a:lnTo>
                        <a:pt x="394318" y="551610"/>
                      </a:lnTo>
                      <a:lnTo>
                        <a:pt x="394318" y="361815"/>
                      </a:lnTo>
                      <a:cubicBezTo>
                        <a:pt x="394318" y="354308"/>
                        <a:pt x="398580" y="343924"/>
                        <a:pt x="403846" y="338669"/>
                      </a:cubicBezTo>
                      <a:lnTo>
                        <a:pt x="441329" y="301136"/>
                      </a:lnTo>
                      <a:cubicBezTo>
                        <a:pt x="444024" y="298508"/>
                        <a:pt x="446438" y="297633"/>
                        <a:pt x="448177" y="298352"/>
                      </a:cubicBezTo>
                      <a:close/>
                      <a:moveTo>
                        <a:pt x="527085" y="219452"/>
                      </a:moveTo>
                      <a:cubicBezTo>
                        <a:pt x="528809" y="220171"/>
                        <a:pt x="529874" y="222486"/>
                        <a:pt x="529874" y="226177"/>
                      </a:cubicBezTo>
                      <a:lnTo>
                        <a:pt x="529874" y="551610"/>
                      </a:lnTo>
                      <a:lnTo>
                        <a:pt x="477232" y="551610"/>
                      </a:lnTo>
                      <a:lnTo>
                        <a:pt x="477232" y="278727"/>
                      </a:lnTo>
                      <a:cubicBezTo>
                        <a:pt x="477232" y="271345"/>
                        <a:pt x="481494" y="260960"/>
                        <a:pt x="486883" y="255580"/>
                      </a:cubicBezTo>
                      <a:lnTo>
                        <a:pt x="520348" y="222298"/>
                      </a:lnTo>
                      <a:cubicBezTo>
                        <a:pt x="522980" y="219608"/>
                        <a:pt x="525362" y="218732"/>
                        <a:pt x="527085" y="219452"/>
                      </a:cubicBezTo>
                      <a:close/>
                      <a:moveTo>
                        <a:pt x="387769" y="0"/>
                      </a:moveTo>
                      <a:lnTo>
                        <a:pt x="580729" y="0"/>
                      </a:lnTo>
                      <a:cubicBezTo>
                        <a:pt x="594512" y="0"/>
                        <a:pt x="607919" y="12135"/>
                        <a:pt x="607919" y="26022"/>
                      </a:cubicBezTo>
                      <a:lnTo>
                        <a:pt x="607919" y="219812"/>
                      </a:lnTo>
                      <a:cubicBezTo>
                        <a:pt x="607919" y="227318"/>
                        <a:pt x="603534" y="229070"/>
                        <a:pt x="598271" y="223815"/>
                      </a:cubicBezTo>
                      <a:lnTo>
                        <a:pt x="530610" y="156258"/>
                      </a:lnTo>
                      <a:lnTo>
                        <a:pt x="304320" y="382325"/>
                      </a:lnTo>
                      <a:cubicBezTo>
                        <a:pt x="298932" y="387580"/>
                        <a:pt x="290412" y="387580"/>
                        <a:pt x="285024" y="382325"/>
                      </a:cubicBezTo>
                      <a:lnTo>
                        <a:pt x="216360" y="313767"/>
                      </a:lnTo>
                      <a:lnTo>
                        <a:pt x="94068" y="435996"/>
                      </a:lnTo>
                      <a:cubicBezTo>
                        <a:pt x="72767" y="457264"/>
                        <a:pt x="38435" y="457264"/>
                        <a:pt x="17260" y="435996"/>
                      </a:cubicBezTo>
                      <a:lnTo>
                        <a:pt x="15882" y="434745"/>
                      </a:lnTo>
                      <a:cubicBezTo>
                        <a:pt x="-5294" y="413477"/>
                        <a:pt x="-5294" y="379198"/>
                        <a:pt x="15882" y="358055"/>
                      </a:cubicBezTo>
                      <a:lnTo>
                        <a:pt x="206837" y="167267"/>
                      </a:lnTo>
                      <a:cubicBezTo>
                        <a:pt x="212100" y="161888"/>
                        <a:pt x="220745" y="161888"/>
                        <a:pt x="226008" y="167267"/>
                      </a:cubicBezTo>
                      <a:lnTo>
                        <a:pt x="294672" y="235701"/>
                      </a:lnTo>
                      <a:lnTo>
                        <a:pt x="424481" y="105965"/>
                      </a:lnTo>
                      <a:lnTo>
                        <a:pt x="452423" y="78192"/>
                      </a:lnTo>
                      <a:lnTo>
                        <a:pt x="383885" y="9633"/>
                      </a:lnTo>
                      <a:cubicBezTo>
                        <a:pt x="378497" y="4379"/>
                        <a:pt x="380376" y="0"/>
                        <a:pt x="387769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cxnSp>
          <p:nvCxnSpPr>
            <p:cNvPr id="12" name="直接连接符 11"/>
            <p:cNvCxnSpPr/>
            <p:nvPr/>
          </p:nvCxnSpPr>
          <p:spPr>
            <a:xfrm>
              <a:off x="660400" y="3871897"/>
              <a:ext cx="10542572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7" name="图片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9283" y="1255715"/>
            <a:ext cx="6005754" cy="2510379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进程调度的方式</a:t>
            </a:r>
          </a:p>
        </p:txBody>
      </p:sp>
      <p:sp>
        <p:nvSpPr>
          <p:cNvPr id="16" name="íSľïdé"/>
          <p:cNvSpPr/>
          <p:nvPr/>
        </p:nvSpPr>
        <p:spPr>
          <a:xfrm>
            <a:off x="1682149" y="1374414"/>
            <a:ext cx="567702" cy="511936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200" kern="1200"/>
          </a:p>
        </p:txBody>
      </p:sp>
      <p:sp>
        <p:nvSpPr>
          <p:cNvPr id="17" name="ïŝļíḓê"/>
          <p:cNvSpPr/>
          <p:nvPr/>
        </p:nvSpPr>
        <p:spPr bwMode="auto">
          <a:xfrm>
            <a:off x="5420941" y="1729459"/>
            <a:ext cx="556774" cy="553604"/>
          </a:xfrm>
          <a:custGeom>
            <a:avLst/>
            <a:gdLst>
              <a:gd name="T0" fmla="*/ 3682 w 4808"/>
              <a:gd name="T1" fmla="*/ 2763 h 4789"/>
              <a:gd name="T2" fmla="*/ 3420 w 4808"/>
              <a:gd name="T3" fmla="*/ 2703 h 4789"/>
              <a:gd name="T4" fmla="*/ 3026 w 4808"/>
              <a:gd name="T5" fmla="*/ 2392 h 4789"/>
              <a:gd name="T6" fmla="*/ 2818 w 4808"/>
              <a:gd name="T7" fmla="*/ 2517 h 4789"/>
              <a:gd name="T8" fmla="*/ 3219 w 4808"/>
              <a:gd name="T9" fmla="*/ 1876 h 4789"/>
              <a:gd name="T10" fmla="*/ 3609 w 4808"/>
              <a:gd name="T11" fmla="*/ 1953 h 4789"/>
              <a:gd name="T12" fmla="*/ 4553 w 4808"/>
              <a:gd name="T13" fmla="*/ 720 h 4789"/>
              <a:gd name="T14" fmla="*/ 4388 w 4808"/>
              <a:gd name="T15" fmla="*/ 680 h 4789"/>
              <a:gd name="T16" fmla="*/ 3872 w 4808"/>
              <a:gd name="T17" fmla="*/ 1161 h 4789"/>
              <a:gd name="T18" fmla="*/ 3859 w 4808"/>
              <a:gd name="T19" fmla="*/ 1160 h 4789"/>
              <a:gd name="T20" fmla="*/ 3491 w 4808"/>
              <a:gd name="T21" fmla="*/ 1099 h 4789"/>
              <a:gd name="T22" fmla="*/ 3432 w 4808"/>
              <a:gd name="T23" fmla="*/ 731 h 4789"/>
              <a:gd name="T24" fmla="*/ 3454 w 4808"/>
              <a:gd name="T25" fmla="*/ 658 h 4789"/>
              <a:gd name="T26" fmla="*/ 3938 w 4808"/>
              <a:gd name="T27" fmla="*/ 104 h 4789"/>
              <a:gd name="T28" fmla="*/ 3609 w 4808"/>
              <a:gd name="T29" fmla="*/ 0 h 4789"/>
              <a:gd name="T30" fmla="*/ 2710 w 4808"/>
              <a:gd name="T31" fmla="*/ 1369 h 4789"/>
              <a:gd name="T32" fmla="*/ 1300 w 4808"/>
              <a:gd name="T33" fmla="*/ 999 h 4789"/>
              <a:gd name="T34" fmla="*/ 1309 w 4808"/>
              <a:gd name="T35" fmla="*/ 892 h 4789"/>
              <a:gd name="T36" fmla="*/ 865 w 4808"/>
              <a:gd name="T37" fmla="*/ 294 h 4789"/>
              <a:gd name="T38" fmla="*/ 665 w 4808"/>
              <a:gd name="T39" fmla="*/ 298 h 4789"/>
              <a:gd name="T40" fmla="*/ 278 w 4808"/>
              <a:gd name="T41" fmla="*/ 787 h 4789"/>
              <a:gd name="T42" fmla="*/ 630 w 4808"/>
              <a:gd name="T43" fmla="*/ 1163 h 4789"/>
              <a:gd name="T44" fmla="*/ 926 w 4808"/>
              <a:gd name="T45" fmla="*/ 1291 h 4789"/>
              <a:gd name="T46" fmla="*/ 1018 w 4808"/>
              <a:gd name="T47" fmla="*/ 1282 h 4789"/>
              <a:gd name="T48" fmla="*/ 1485 w 4808"/>
              <a:gd name="T49" fmla="*/ 2594 h 4789"/>
              <a:gd name="T50" fmla="*/ 1037 w 4808"/>
              <a:gd name="T51" fmla="*/ 2572 h 4789"/>
              <a:gd name="T52" fmla="*/ 92 w 4808"/>
              <a:gd name="T53" fmla="*/ 3809 h 4789"/>
              <a:gd name="T54" fmla="*/ 186 w 4808"/>
              <a:gd name="T55" fmla="*/ 3882 h 4789"/>
              <a:gd name="T56" fmla="*/ 727 w 4808"/>
              <a:gd name="T57" fmla="*/ 3384 h 4789"/>
              <a:gd name="T58" fmla="*/ 789 w 4808"/>
              <a:gd name="T59" fmla="*/ 3371 h 4789"/>
              <a:gd name="T60" fmla="*/ 796 w 4808"/>
              <a:gd name="T61" fmla="*/ 3372 h 4789"/>
              <a:gd name="T62" fmla="*/ 1218 w 4808"/>
              <a:gd name="T63" fmla="*/ 3798 h 4789"/>
              <a:gd name="T64" fmla="*/ 1192 w 4808"/>
              <a:gd name="T65" fmla="*/ 3873 h 4789"/>
              <a:gd name="T66" fmla="*/ 707 w 4808"/>
              <a:gd name="T67" fmla="*/ 4427 h 4789"/>
              <a:gd name="T68" fmla="*/ 1037 w 4808"/>
              <a:gd name="T69" fmla="*/ 4531 h 4789"/>
              <a:gd name="T70" fmla="*/ 2016 w 4808"/>
              <a:gd name="T71" fmla="*/ 3551 h 4789"/>
              <a:gd name="T72" fmla="*/ 1994 w 4808"/>
              <a:gd name="T73" fmla="*/ 3103 h 4789"/>
              <a:gd name="T74" fmla="*/ 2535 w 4808"/>
              <a:gd name="T75" fmla="*/ 2799 h 4789"/>
              <a:gd name="T76" fmla="*/ 2410 w 4808"/>
              <a:gd name="T77" fmla="*/ 3007 h 4789"/>
              <a:gd name="T78" fmla="*/ 2721 w 4808"/>
              <a:gd name="T79" fmla="*/ 3401 h 4789"/>
              <a:gd name="T80" fmla="*/ 2781 w 4808"/>
              <a:gd name="T81" fmla="*/ 3663 h 4789"/>
              <a:gd name="T82" fmla="*/ 4013 w 4808"/>
              <a:gd name="T83" fmla="*/ 4789 h 4789"/>
              <a:gd name="T84" fmla="*/ 4734 w 4808"/>
              <a:gd name="T85" fmla="*/ 4173 h 4789"/>
              <a:gd name="T86" fmla="*/ 4734 w 4808"/>
              <a:gd name="T87" fmla="*/ 3815 h 4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808" h="4789">
                <a:moveTo>
                  <a:pt x="4734" y="3815"/>
                </a:moveTo>
                <a:lnTo>
                  <a:pt x="3682" y="2763"/>
                </a:lnTo>
                <a:cubicBezTo>
                  <a:pt x="3634" y="2715"/>
                  <a:pt x="3570" y="2689"/>
                  <a:pt x="3502" y="2689"/>
                </a:cubicBezTo>
                <a:cubicBezTo>
                  <a:pt x="3474" y="2689"/>
                  <a:pt x="3446" y="2694"/>
                  <a:pt x="3420" y="2703"/>
                </a:cubicBezTo>
                <a:lnTo>
                  <a:pt x="3167" y="2450"/>
                </a:lnTo>
                <a:cubicBezTo>
                  <a:pt x="3130" y="2413"/>
                  <a:pt x="3079" y="2392"/>
                  <a:pt x="3026" y="2392"/>
                </a:cubicBezTo>
                <a:cubicBezTo>
                  <a:pt x="2972" y="2392"/>
                  <a:pt x="2922" y="2413"/>
                  <a:pt x="2884" y="2450"/>
                </a:cubicBezTo>
                <a:lnTo>
                  <a:pt x="2818" y="2517"/>
                </a:lnTo>
                <a:lnTo>
                  <a:pt x="2699" y="2398"/>
                </a:lnTo>
                <a:lnTo>
                  <a:pt x="3219" y="1876"/>
                </a:lnTo>
                <a:cubicBezTo>
                  <a:pt x="3340" y="1928"/>
                  <a:pt x="3472" y="1953"/>
                  <a:pt x="3609" y="1953"/>
                </a:cubicBezTo>
                <a:lnTo>
                  <a:pt x="3609" y="1953"/>
                </a:lnTo>
                <a:cubicBezTo>
                  <a:pt x="3870" y="1953"/>
                  <a:pt x="4116" y="1854"/>
                  <a:pt x="4301" y="1669"/>
                </a:cubicBezTo>
                <a:cubicBezTo>
                  <a:pt x="4549" y="1421"/>
                  <a:pt x="4646" y="1059"/>
                  <a:pt x="4553" y="720"/>
                </a:cubicBezTo>
                <a:cubicBezTo>
                  <a:pt x="4542" y="678"/>
                  <a:pt x="4502" y="648"/>
                  <a:pt x="4459" y="648"/>
                </a:cubicBezTo>
                <a:cubicBezTo>
                  <a:pt x="4441" y="648"/>
                  <a:pt x="4413" y="654"/>
                  <a:pt x="4388" y="680"/>
                </a:cubicBezTo>
                <a:cubicBezTo>
                  <a:pt x="4384" y="683"/>
                  <a:pt x="4034" y="1030"/>
                  <a:pt x="3918" y="1146"/>
                </a:cubicBezTo>
                <a:cubicBezTo>
                  <a:pt x="3906" y="1159"/>
                  <a:pt x="3885" y="1161"/>
                  <a:pt x="3872" y="1161"/>
                </a:cubicBezTo>
                <a:cubicBezTo>
                  <a:pt x="3864" y="1161"/>
                  <a:pt x="3859" y="1160"/>
                  <a:pt x="3859" y="1160"/>
                </a:cubicBezTo>
                <a:lnTo>
                  <a:pt x="3859" y="1160"/>
                </a:lnTo>
                <a:lnTo>
                  <a:pt x="3851" y="1159"/>
                </a:lnTo>
                <a:cubicBezTo>
                  <a:pt x="3707" y="1146"/>
                  <a:pt x="3535" y="1119"/>
                  <a:pt x="3491" y="1099"/>
                </a:cubicBezTo>
                <a:cubicBezTo>
                  <a:pt x="3470" y="1055"/>
                  <a:pt x="3445" y="879"/>
                  <a:pt x="3432" y="733"/>
                </a:cubicBezTo>
                <a:lnTo>
                  <a:pt x="3432" y="731"/>
                </a:lnTo>
                <a:lnTo>
                  <a:pt x="3429" y="727"/>
                </a:lnTo>
                <a:cubicBezTo>
                  <a:pt x="3428" y="720"/>
                  <a:pt x="3425" y="687"/>
                  <a:pt x="3454" y="658"/>
                </a:cubicBezTo>
                <a:cubicBezTo>
                  <a:pt x="3574" y="538"/>
                  <a:pt x="3905" y="204"/>
                  <a:pt x="3908" y="201"/>
                </a:cubicBezTo>
                <a:cubicBezTo>
                  <a:pt x="3936" y="173"/>
                  <a:pt x="3947" y="138"/>
                  <a:pt x="3938" y="104"/>
                </a:cubicBezTo>
                <a:cubicBezTo>
                  <a:pt x="3927" y="64"/>
                  <a:pt x="3893" y="42"/>
                  <a:pt x="3865" y="34"/>
                </a:cubicBezTo>
                <a:cubicBezTo>
                  <a:pt x="3782" y="11"/>
                  <a:pt x="3695" y="0"/>
                  <a:pt x="3609" y="0"/>
                </a:cubicBezTo>
                <a:cubicBezTo>
                  <a:pt x="3347" y="0"/>
                  <a:pt x="3101" y="102"/>
                  <a:pt x="2916" y="287"/>
                </a:cubicBezTo>
                <a:cubicBezTo>
                  <a:pt x="2624" y="579"/>
                  <a:pt x="2555" y="1011"/>
                  <a:pt x="2710" y="1369"/>
                </a:cubicBezTo>
                <a:lnTo>
                  <a:pt x="2190" y="1889"/>
                </a:lnTo>
                <a:lnTo>
                  <a:pt x="1300" y="999"/>
                </a:lnTo>
                <a:cubicBezTo>
                  <a:pt x="1300" y="998"/>
                  <a:pt x="1299" y="998"/>
                  <a:pt x="1299" y="997"/>
                </a:cubicBezTo>
                <a:cubicBezTo>
                  <a:pt x="1307" y="963"/>
                  <a:pt x="1311" y="928"/>
                  <a:pt x="1309" y="892"/>
                </a:cubicBezTo>
                <a:cubicBezTo>
                  <a:pt x="1305" y="788"/>
                  <a:pt x="1260" y="689"/>
                  <a:pt x="1182" y="611"/>
                </a:cubicBezTo>
                <a:lnTo>
                  <a:pt x="865" y="294"/>
                </a:lnTo>
                <a:cubicBezTo>
                  <a:pt x="858" y="288"/>
                  <a:pt x="821" y="253"/>
                  <a:pt x="766" y="253"/>
                </a:cubicBezTo>
                <a:cubicBezTo>
                  <a:pt x="740" y="253"/>
                  <a:pt x="702" y="261"/>
                  <a:pt x="665" y="298"/>
                </a:cubicBezTo>
                <a:lnTo>
                  <a:pt x="318" y="645"/>
                </a:lnTo>
                <a:cubicBezTo>
                  <a:pt x="277" y="685"/>
                  <a:pt x="263" y="737"/>
                  <a:pt x="278" y="787"/>
                </a:cubicBezTo>
                <a:cubicBezTo>
                  <a:pt x="288" y="820"/>
                  <a:pt x="308" y="842"/>
                  <a:pt x="314" y="848"/>
                </a:cubicBezTo>
                <a:lnTo>
                  <a:pt x="630" y="1163"/>
                </a:lnTo>
                <a:cubicBezTo>
                  <a:pt x="712" y="1246"/>
                  <a:pt x="817" y="1291"/>
                  <a:pt x="926" y="1291"/>
                </a:cubicBezTo>
                <a:lnTo>
                  <a:pt x="926" y="1291"/>
                </a:lnTo>
                <a:cubicBezTo>
                  <a:pt x="957" y="1291"/>
                  <a:pt x="987" y="1287"/>
                  <a:pt x="1016" y="1280"/>
                </a:cubicBezTo>
                <a:cubicBezTo>
                  <a:pt x="1017" y="1281"/>
                  <a:pt x="1017" y="1281"/>
                  <a:pt x="1018" y="1282"/>
                </a:cubicBezTo>
                <a:lnTo>
                  <a:pt x="1907" y="2171"/>
                </a:lnTo>
                <a:lnTo>
                  <a:pt x="1485" y="2594"/>
                </a:lnTo>
                <a:cubicBezTo>
                  <a:pt x="1466" y="2613"/>
                  <a:pt x="1449" y="2634"/>
                  <a:pt x="1435" y="2656"/>
                </a:cubicBezTo>
                <a:cubicBezTo>
                  <a:pt x="1311" y="2601"/>
                  <a:pt x="1176" y="2572"/>
                  <a:pt x="1037" y="2572"/>
                </a:cubicBezTo>
                <a:cubicBezTo>
                  <a:pt x="775" y="2572"/>
                  <a:pt x="529" y="2674"/>
                  <a:pt x="344" y="2859"/>
                </a:cubicBezTo>
                <a:cubicBezTo>
                  <a:pt x="96" y="3106"/>
                  <a:pt x="0" y="3471"/>
                  <a:pt x="92" y="3809"/>
                </a:cubicBezTo>
                <a:cubicBezTo>
                  <a:pt x="103" y="3852"/>
                  <a:pt x="143" y="3882"/>
                  <a:pt x="186" y="3882"/>
                </a:cubicBezTo>
                <a:lnTo>
                  <a:pt x="186" y="3882"/>
                </a:lnTo>
                <a:cubicBezTo>
                  <a:pt x="204" y="3882"/>
                  <a:pt x="232" y="3877"/>
                  <a:pt x="258" y="3851"/>
                </a:cubicBezTo>
                <a:cubicBezTo>
                  <a:pt x="261" y="3847"/>
                  <a:pt x="611" y="3500"/>
                  <a:pt x="727" y="3384"/>
                </a:cubicBezTo>
                <a:cubicBezTo>
                  <a:pt x="740" y="3372"/>
                  <a:pt x="762" y="3370"/>
                  <a:pt x="774" y="3370"/>
                </a:cubicBezTo>
                <a:cubicBezTo>
                  <a:pt x="783" y="3370"/>
                  <a:pt x="789" y="3371"/>
                  <a:pt x="789" y="3371"/>
                </a:cubicBezTo>
                <a:lnTo>
                  <a:pt x="789" y="3371"/>
                </a:lnTo>
                <a:lnTo>
                  <a:pt x="796" y="3372"/>
                </a:lnTo>
                <a:cubicBezTo>
                  <a:pt x="940" y="3385"/>
                  <a:pt x="1113" y="3411"/>
                  <a:pt x="1157" y="3431"/>
                </a:cubicBezTo>
                <a:cubicBezTo>
                  <a:pt x="1178" y="3475"/>
                  <a:pt x="1205" y="3652"/>
                  <a:pt x="1218" y="3798"/>
                </a:cubicBezTo>
                <a:lnTo>
                  <a:pt x="1219" y="3805"/>
                </a:lnTo>
                <a:cubicBezTo>
                  <a:pt x="1219" y="3805"/>
                  <a:pt x="1223" y="3842"/>
                  <a:pt x="1192" y="3873"/>
                </a:cubicBezTo>
                <a:cubicBezTo>
                  <a:pt x="1072" y="3993"/>
                  <a:pt x="741" y="4327"/>
                  <a:pt x="738" y="4330"/>
                </a:cubicBezTo>
                <a:cubicBezTo>
                  <a:pt x="710" y="4358"/>
                  <a:pt x="699" y="4393"/>
                  <a:pt x="707" y="4427"/>
                </a:cubicBezTo>
                <a:cubicBezTo>
                  <a:pt x="718" y="4467"/>
                  <a:pt x="752" y="4489"/>
                  <a:pt x="780" y="4497"/>
                </a:cubicBezTo>
                <a:cubicBezTo>
                  <a:pt x="864" y="4519"/>
                  <a:pt x="950" y="4531"/>
                  <a:pt x="1037" y="4531"/>
                </a:cubicBezTo>
                <a:cubicBezTo>
                  <a:pt x="1298" y="4531"/>
                  <a:pt x="1544" y="4429"/>
                  <a:pt x="1729" y="4244"/>
                </a:cubicBezTo>
                <a:cubicBezTo>
                  <a:pt x="1914" y="4059"/>
                  <a:pt x="2016" y="3813"/>
                  <a:pt x="2016" y="3551"/>
                </a:cubicBezTo>
                <a:cubicBezTo>
                  <a:pt x="2016" y="3412"/>
                  <a:pt x="1987" y="3277"/>
                  <a:pt x="1932" y="3153"/>
                </a:cubicBezTo>
                <a:cubicBezTo>
                  <a:pt x="1954" y="3139"/>
                  <a:pt x="1975" y="3122"/>
                  <a:pt x="1994" y="3103"/>
                </a:cubicBezTo>
                <a:lnTo>
                  <a:pt x="2417" y="2681"/>
                </a:lnTo>
                <a:lnTo>
                  <a:pt x="2535" y="2799"/>
                </a:lnTo>
                <a:lnTo>
                  <a:pt x="2469" y="2866"/>
                </a:lnTo>
                <a:cubicBezTo>
                  <a:pt x="2431" y="2904"/>
                  <a:pt x="2410" y="2954"/>
                  <a:pt x="2410" y="3007"/>
                </a:cubicBezTo>
                <a:cubicBezTo>
                  <a:pt x="2410" y="3061"/>
                  <a:pt x="2431" y="3111"/>
                  <a:pt x="2469" y="3149"/>
                </a:cubicBezTo>
                <a:lnTo>
                  <a:pt x="2721" y="3401"/>
                </a:lnTo>
                <a:cubicBezTo>
                  <a:pt x="2712" y="3427"/>
                  <a:pt x="2707" y="3455"/>
                  <a:pt x="2707" y="3484"/>
                </a:cubicBezTo>
                <a:cubicBezTo>
                  <a:pt x="2707" y="3552"/>
                  <a:pt x="2734" y="3615"/>
                  <a:pt x="2781" y="3663"/>
                </a:cubicBezTo>
                <a:lnTo>
                  <a:pt x="3834" y="4715"/>
                </a:lnTo>
                <a:cubicBezTo>
                  <a:pt x="3881" y="4763"/>
                  <a:pt x="3945" y="4789"/>
                  <a:pt x="4013" y="4789"/>
                </a:cubicBezTo>
                <a:cubicBezTo>
                  <a:pt x="4081" y="4789"/>
                  <a:pt x="4144" y="4763"/>
                  <a:pt x="4192" y="4715"/>
                </a:cubicBezTo>
                <a:lnTo>
                  <a:pt x="4734" y="4173"/>
                </a:lnTo>
                <a:cubicBezTo>
                  <a:pt x="4782" y="4126"/>
                  <a:pt x="4808" y="4062"/>
                  <a:pt x="4808" y="3994"/>
                </a:cubicBezTo>
                <a:cubicBezTo>
                  <a:pt x="4808" y="3926"/>
                  <a:pt x="4782" y="3863"/>
                  <a:pt x="4734" y="381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/>
          </a:p>
        </p:txBody>
      </p:sp>
      <p:sp>
        <p:nvSpPr>
          <p:cNvPr id="18" name="îṧľîdé"/>
          <p:cNvSpPr/>
          <p:nvPr/>
        </p:nvSpPr>
        <p:spPr>
          <a:xfrm>
            <a:off x="2430904" y="1090328"/>
            <a:ext cx="2808984" cy="1324398"/>
          </a:xfrm>
          <a:prstGeom prst="leftRightRibbon">
            <a:avLst>
              <a:gd name="adj1" fmla="val 50000"/>
              <a:gd name="adj2" fmla="val 50000"/>
              <a:gd name="adj3" fmla="val 33333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30" name="内容占位符 2"/>
          <p:cNvSpPr txBox="1"/>
          <p:nvPr/>
        </p:nvSpPr>
        <p:spPr>
          <a:xfrm>
            <a:off x="669925" y="2006261"/>
            <a:ext cx="3396048" cy="403943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spcBef>
                <a:spcPts val="580"/>
              </a:spcBef>
              <a:buNone/>
              <a:defRPr/>
            </a:pPr>
            <a:r>
              <a:rPr lang="zh-CN" altLang="en-US" sz="2200" dirty="0">
                <a:solidFill>
                  <a:srgbClr val="FF0000"/>
                </a:solidFill>
              </a:rPr>
              <a:t>非抢占方式：</a:t>
            </a:r>
            <a:endParaRPr lang="en-US" altLang="zh-CN" sz="2200" dirty="0">
              <a:solidFill>
                <a:srgbClr val="FF0000"/>
              </a:solidFill>
            </a:endParaRPr>
          </a:p>
          <a:p>
            <a:pPr marL="0" indent="0">
              <a:lnSpc>
                <a:spcPct val="132000"/>
              </a:lnSpc>
              <a:spcBef>
                <a:spcPts val="580"/>
              </a:spcBef>
              <a:buNone/>
              <a:defRPr/>
            </a:pPr>
            <a:r>
              <a:rPr lang="zh-CN" alt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一旦把处理机分配给某进程后，便让该进程一直执行，直至该进程完成或发生某事件而被阻塞时，才再把处理机分配给其他进程，决不允许某进程抢占已经分配出去的处理机。</a:t>
            </a:r>
          </a:p>
        </p:txBody>
      </p:sp>
      <p:sp>
        <p:nvSpPr>
          <p:cNvPr id="33" name="内容占位符 2"/>
          <p:cNvSpPr txBox="1"/>
          <p:nvPr/>
        </p:nvSpPr>
        <p:spPr>
          <a:xfrm>
            <a:off x="5345558" y="2283063"/>
            <a:ext cx="6176517" cy="403943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spcBef>
                <a:spcPts val="580"/>
              </a:spcBef>
              <a:buNone/>
              <a:defRPr/>
            </a:pPr>
            <a:r>
              <a:rPr lang="zh-CN" altLang="en-US" sz="2200" dirty="0">
                <a:solidFill>
                  <a:srgbClr val="FF0000"/>
                </a:solidFill>
              </a:rPr>
              <a:t>抢占方式：</a:t>
            </a:r>
            <a:r>
              <a:rPr lang="zh-CN" altLang="en-US" sz="2200" dirty="0"/>
              <a:t>允许调度程序根据某种原则，去暂停某个正在执行的进程，将已分配给该进程的处理机重新分配给另一进程。</a:t>
            </a:r>
            <a:r>
              <a:rPr lang="en-US" altLang="zh-CN" sz="2200" dirty="0">
                <a:solidFill>
                  <a:srgbClr val="FF0000"/>
                </a:solidFill>
              </a:rPr>
              <a:t>(</a:t>
            </a:r>
            <a:r>
              <a:rPr lang="zh-CN" altLang="en-US" sz="2200" dirty="0">
                <a:solidFill>
                  <a:srgbClr val="FF0000"/>
                </a:solidFill>
              </a:rPr>
              <a:t>现代</a:t>
            </a:r>
            <a:r>
              <a:rPr lang="en-US" altLang="zh-CN" sz="2200" dirty="0">
                <a:solidFill>
                  <a:srgbClr val="FF0000"/>
                </a:solidFill>
              </a:rPr>
              <a:t>OS</a:t>
            </a:r>
            <a:r>
              <a:rPr lang="zh-CN" altLang="en-US" sz="2200" dirty="0">
                <a:solidFill>
                  <a:srgbClr val="FF0000"/>
                </a:solidFill>
              </a:rPr>
              <a:t>广泛采用</a:t>
            </a:r>
            <a:r>
              <a:rPr lang="en-US" altLang="zh-CN" sz="2200" dirty="0">
                <a:solidFill>
                  <a:srgbClr val="FF0000"/>
                </a:solidFill>
              </a:rPr>
              <a:t>)</a:t>
            </a:r>
            <a:endParaRPr lang="en-US" altLang="zh-CN" sz="2200" dirty="0"/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优先权原则：允许优先权高的新到进程抢占当前进程的处理机</a:t>
            </a: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短作业优先原则：短作业可以抢占当前较长作业的处理机</a:t>
            </a:r>
          </a:p>
          <a:p>
            <a:pPr marL="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60000"/>
              <a:buFont typeface="Wingdings" panose="05000000000000000000" pitchFamily="2" charset="2"/>
              <a:buChar char="Ø"/>
              <a:defRPr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时间片原则：各进程按时间片运行，当一个时间片用完后，便停止该进程的执行而重新进行调度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8a06314-7e72-4d48-85a8-7253ed818c17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72399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764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764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bc55a266-9c24-4135-9a83-cc7cb74c5694}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971</TotalTime>
  <Words>2989</Words>
  <Application>Microsoft Office PowerPoint</Application>
  <PresentationFormat>宽屏</PresentationFormat>
  <Paragraphs>503</Paragraphs>
  <Slides>47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47</vt:i4>
      </vt:variant>
    </vt:vector>
  </HeadingPairs>
  <TitlesOfParts>
    <vt:vector size="54" baseType="lpstr">
      <vt:lpstr>Monotype Sorts</vt:lpstr>
      <vt:lpstr>微软雅黑 (正文)</vt:lpstr>
      <vt:lpstr>Arial</vt:lpstr>
      <vt:lpstr>Calibri</vt:lpstr>
      <vt:lpstr>Wingdings</vt:lpstr>
      <vt:lpstr>Wingdings 2</vt:lpstr>
      <vt:lpstr>主题5</vt:lpstr>
      <vt:lpstr>第3章  处理机调度与死锁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玮 玮 李</cp:lastModifiedBy>
  <cp:revision>207</cp:revision>
  <cp:lastPrinted>2019-04-18T16:00:00Z</cp:lastPrinted>
  <dcterms:created xsi:type="dcterms:W3CDTF">2019-04-18T16:00:00Z</dcterms:created>
  <dcterms:modified xsi:type="dcterms:W3CDTF">2025-03-10T14:24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937F9B21B5CB4C8AB8750625E5D37016</vt:lpwstr>
  </property>
  <property fmtid="{D5CDD505-2E9C-101B-9397-08002B2CF9AE}" pid="4" name="KSOProductBuildVer">
    <vt:lpwstr>2052-11.1.0.10356</vt:lpwstr>
  </property>
</Properties>
</file>